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233" r:id="rId4"/>
  </p:sldMasterIdLst>
  <p:notesMasterIdLst>
    <p:notesMasterId r:id="rId16"/>
  </p:notesMasterIdLst>
  <p:handoutMasterIdLst>
    <p:handoutMasterId r:id="rId17"/>
  </p:handoutMasterIdLst>
  <p:sldIdLst>
    <p:sldId id="2147472857" r:id="rId5"/>
    <p:sldId id="260" r:id="rId6"/>
    <p:sldId id="261" r:id="rId7"/>
    <p:sldId id="256" r:id="rId8"/>
    <p:sldId id="5530" r:id="rId9"/>
    <p:sldId id="5532" r:id="rId10"/>
    <p:sldId id="2147472859" r:id="rId11"/>
    <p:sldId id="269" r:id="rId12"/>
    <p:sldId id="278" r:id="rId13"/>
    <p:sldId id="2147472860" r:id="rId14"/>
    <p:sldId id="2147472855" r:id="rId15"/>
  </p:sldIdLst>
  <p:sldSz cx="12192000" cy="6858000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F4F4F4"/>
    <a:srgbClr val="DA291C"/>
    <a:srgbClr val="959CA0"/>
    <a:srgbClr val="FE8A12"/>
    <a:srgbClr val="F4C65A"/>
    <a:srgbClr val="FFE2C4"/>
    <a:srgbClr val="FEC488"/>
    <a:srgbClr val="7FD1EF"/>
    <a:srgbClr val="A1D7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845C1B1-68AF-A83E-00D1-26548248205C}" v="50" dt="2025-07-01T15:31:10.329"/>
    <p1510:client id="{0A56F651-3D34-1194-DAF2-2D28FC3391C2}" v="115" dt="2025-07-02T11:35:12.418"/>
    <p1510:client id="{9927B17A-CB63-4A57-8B43-171FA5E9B190}" v="124" dt="2025-07-01T14:14:50.518"/>
    <p1510:client id="{AF7E27AC-4217-9968-5701-61739893EC27}" v="10" dt="2025-07-01T12:47:21.927"/>
    <p1510:client id="{C48249D3-4D1A-1899-1D0D-4370519A4CBD}" v="2" dt="2025-07-01T12:46:08.809"/>
    <p1510:client id="{E813286D-433B-183F-90E3-0FB6FD28B360}" v="177" dt="2025-07-02T11:34:24.30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2160"/>
        <p:guide pos="3840"/>
      </p:guideLst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owell, Kristen" userId="S::kristen.powell@quintiles.com::93f3f6c6-9f8b-4a46-8d11-8a5d6b462338" providerId="AD" clId="Web-{0A56F651-3D34-1194-DAF2-2D28FC3391C2}"/>
    <pc:docChg chg="modSld">
      <pc:chgData name="Powell, Kristen" userId="S::kristen.powell@quintiles.com::93f3f6c6-9f8b-4a46-8d11-8a5d6b462338" providerId="AD" clId="Web-{0A56F651-3D34-1194-DAF2-2D28FC3391C2}" dt="2025-07-02T11:35:12.418" v="112" actId="20577"/>
      <pc:docMkLst>
        <pc:docMk/>
      </pc:docMkLst>
      <pc:sldChg chg="delSp modSp">
        <pc:chgData name="Powell, Kristen" userId="S::kristen.powell@quintiles.com::93f3f6c6-9f8b-4a46-8d11-8a5d6b462338" providerId="AD" clId="Web-{0A56F651-3D34-1194-DAF2-2D28FC3391C2}" dt="2025-07-02T11:35:12.418" v="112" actId="20577"/>
        <pc:sldMkLst>
          <pc:docMk/>
          <pc:sldMk cId="1200074199" sldId="2147472860"/>
        </pc:sldMkLst>
        <pc:spChg chg="mod">
          <ac:chgData name="Powell, Kristen" userId="S::kristen.powell@quintiles.com::93f3f6c6-9f8b-4a46-8d11-8a5d6b462338" providerId="AD" clId="Web-{0A56F651-3D34-1194-DAF2-2D28FC3391C2}" dt="2025-07-02T11:35:12.418" v="112" actId="20577"/>
          <ac:spMkLst>
            <pc:docMk/>
            <pc:sldMk cId="1200074199" sldId="2147472860"/>
            <ac:spMk id="2" creationId="{24C832FF-351D-4396-F4AE-D2ABA056DF1A}"/>
          </ac:spMkLst>
        </pc:spChg>
        <pc:spChg chg="del">
          <ac:chgData name="Powell, Kristen" userId="S::kristen.powell@quintiles.com::93f3f6c6-9f8b-4a46-8d11-8a5d6b462338" providerId="AD" clId="Web-{0A56F651-3D34-1194-DAF2-2D28FC3391C2}" dt="2025-07-02T11:34:59.293" v="111"/>
          <ac:spMkLst>
            <pc:docMk/>
            <pc:sldMk cId="1200074199" sldId="2147472860"/>
            <ac:spMk id="5" creationId="{A0AE8ED1-56A4-B63F-A33F-FB9985C28A17}"/>
          </ac:spMkLst>
        </pc:spChg>
      </pc:sldChg>
    </pc:docChg>
  </pc:docChgLst>
  <pc:docChgLst>
    <pc:chgData name="Kamboj, Sandeep" userId="b1434cc5-997d-4115-b984-843629191137" providerId="ADAL" clId="{9927B17A-CB63-4A57-8B43-171FA5E9B190}"/>
    <pc:docChg chg="undo custSel addSld delSld modSld">
      <pc:chgData name="Kamboj, Sandeep" userId="b1434cc5-997d-4115-b984-843629191137" providerId="ADAL" clId="{9927B17A-CB63-4A57-8B43-171FA5E9B190}" dt="2025-07-01T14:14:50.518" v="123" actId="20577"/>
      <pc:docMkLst>
        <pc:docMk/>
      </pc:docMkLst>
      <pc:sldChg chg="add">
        <pc:chgData name="Kamboj, Sandeep" userId="b1434cc5-997d-4115-b984-843629191137" providerId="ADAL" clId="{9927B17A-CB63-4A57-8B43-171FA5E9B190}" dt="2025-07-01T05:27:38.510" v="76"/>
        <pc:sldMkLst>
          <pc:docMk/>
          <pc:sldMk cId="2136439337" sldId="256"/>
        </pc:sldMkLst>
      </pc:sldChg>
      <pc:sldChg chg="add del">
        <pc:chgData name="Kamboj, Sandeep" userId="b1434cc5-997d-4115-b984-843629191137" providerId="ADAL" clId="{9927B17A-CB63-4A57-8B43-171FA5E9B190}" dt="2025-07-01T14:14:42.860" v="120" actId="47"/>
        <pc:sldMkLst>
          <pc:docMk/>
          <pc:sldMk cId="4016012716" sldId="257"/>
        </pc:sldMkLst>
      </pc:sldChg>
      <pc:sldChg chg="modSp mod">
        <pc:chgData name="Kamboj, Sandeep" userId="b1434cc5-997d-4115-b984-843629191137" providerId="ADAL" clId="{9927B17A-CB63-4A57-8B43-171FA5E9B190}" dt="2025-07-01T14:14:50.518" v="123" actId="20577"/>
        <pc:sldMkLst>
          <pc:docMk/>
          <pc:sldMk cId="2313352098" sldId="260"/>
        </pc:sldMkLst>
        <pc:spChg chg="mod">
          <ac:chgData name="Kamboj, Sandeep" userId="b1434cc5-997d-4115-b984-843629191137" providerId="ADAL" clId="{9927B17A-CB63-4A57-8B43-171FA5E9B190}" dt="2025-07-01T14:14:50.518" v="123" actId="20577"/>
          <ac:spMkLst>
            <pc:docMk/>
            <pc:sldMk cId="2313352098" sldId="260"/>
            <ac:spMk id="8" creationId="{E18C02D5-B939-BFF8-7657-D0B3D73FC719}"/>
          </ac:spMkLst>
        </pc:spChg>
      </pc:sldChg>
      <pc:sldChg chg="addSp delSp mod">
        <pc:chgData name="Kamboj, Sandeep" userId="b1434cc5-997d-4115-b984-843629191137" providerId="ADAL" clId="{9927B17A-CB63-4A57-8B43-171FA5E9B190}" dt="2025-07-01T05:25:51.943" v="14" actId="22"/>
        <pc:sldMkLst>
          <pc:docMk/>
          <pc:sldMk cId="492020610" sldId="261"/>
        </pc:sldMkLst>
        <pc:spChg chg="add del">
          <ac:chgData name="Kamboj, Sandeep" userId="b1434cc5-997d-4115-b984-843629191137" providerId="ADAL" clId="{9927B17A-CB63-4A57-8B43-171FA5E9B190}" dt="2025-07-01T05:25:51.943" v="14" actId="22"/>
          <ac:spMkLst>
            <pc:docMk/>
            <pc:sldMk cId="492020610" sldId="261"/>
            <ac:spMk id="3" creationId="{00FE19CA-3F5D-0925-B664-6F60BAB5B45E}"/>
          </ac:spMkLst>
        </pc:spChg>
      </pc:sldChg>
      <pc:sldChg chg="del">
        <pc:chgData name="Kamboj, Sandeep" userId="b1434cc5-997d-4115-b984-843629191137" providerId="ADAL" clId="{9927B17A-CB63-4A57-8B43-171FA5E9B190}" dt="2025-07-01T05:24:52.986" v="9" actId="47"/>
        <pc:sldMkLst>
          <pc:docMk/>
          <pc:sldMk cId="415512176" sldId="262"/>
        </pc:sldMkLst>
      </pc:sldChg>
      <pc:sldChg chg="del">
        <pc:chgData name="Kamboj, Sandeep" userId="b1434cc5-997d-4115-b984-843629191137" providerId="ADAL" clId="{9927B17A-CB63-4A57-8B43-171FA5E9B190}" dt="2025-07-01T05:24:51.164" v="3" actId="47"/>
        <pc:sldMkLst>
          <pc:docMk/>
          <pc:sldMk cId="3847919809" sldId="282"/>
        </pc:sldMkLst>
      </pc:sldChg>
      <pc:sldChg chg="add">
        <pc:chgData name="Kamboj, Sandeep" userId="b1434cc5-997d-4115-b984-843629191137" providerId="ADAL" clId="{9927B17A-CB63-4A57-8B43-171FA5E9B190}" dt="2025-07-01T05:27:38.510" v="76"/>
        <pc:sldMkLst>
          <pc:docMk/>
          <pc:sldMk cId="1263283585" sldId="5530"/>
        </pc:sldMkLst>
      </pc:sldChg>
      <pc:sldChg chg="add">
        <pc:chgData name="Kamboj, Sandeep" userId="b1434cc5-997d-4115-b984-843629191137" providerId="ADAL" clId="{9927B17A-CB63-4A57-8B43-171FA5E9B190}" dt="2025-07-01T05:27:38.510" v="76"/>
        <pc:sldMkLst>
          <pc:docMk/>
          <pc:sldMk cId="607230125" sldId="5532"/>
        </pc:sldMkLst>
      </pc:sldChg>
      <pc:sldChg chg="add del">
        <pc:chgData name="Kamboj, Sandeep" userId="b1434cc5-997d-4115-b984-843629191137" providerId="ADAL" clId="{9927B17A-CB63-4A57-8B43-171FA5E9B190}" dt="2025-07-01T05:24:55.306" v="12" actId="47"/>
        <pc:sldMkLst>
          <pc:docMk/>
          <pc:sldMk cId="2712623809" sldId="2147472855"/>
        </pc:sldMkLst>
      </pc:sldChg>
      <pc:sldChg chg="modSp mod">
        <pc:chgData name="Kamboj, Sandeep" userId="b1434cc5-997d-4115-b984-843629191137" providerId="ADAL" clId="{9927B17A-CB63-4A57-8B43-171FA5E9B190}" dt="2025-07-01T05:28:23.249" v="117" actId="20577"/>
        <pc:sldMkLst>
          <pc:docMk/>
          <pc:sldMk cId="1126076712" sldId="2147472857"/>
        </pc:sldMkLst>
        <pc:spChg chg="mod">
          <ac:chgData name="Kamboj, Sandeep" userId="b1434cc5-997d-4115-b984-843629191137" providerId="ADAL" clId="{9927B17A-CB63-4A57-8B43-171FA5E9B190}" dt="2025-07-01T05:28:23.249" v="117" actId="20577"/>
          <ac:spMkLst>
            <pc:docMk/>
            <pc:sldMk cId="1126076712" sldId="2147472857"/>
            <ac:spMk id="5" creationId="{9014ADC4-BD15-2F2B-741A-EDFCCB5EC00A}"/>
          </ac:spMkLst>
        </pc:spChg>
      </pc:sldChg>
      <pc:sldChg chg="modSp add del mod">
        <pc:chgData name="Kamboj, Sandeep" userId="b1434cc5-997d-4115-b984-843629191137" providerId="ADAL" clId="{9927B17A-CB63-4A57-8B43-171FA5E9B190}" dt="2025-07-01T14:14:41.262" v="119" actId="47"/>
        <pc:sldMkLst>
          <pc:docMk/>
          <pc:sldMk cId="2200057605" sldId="2147472858"/>
        </pc:sldMkLst>
        <pc:spChg chg="mod">
          <ac:chgData name="Kamboj, Sandeep" userId="b1434cc5-997d-4115-b984-843629191137" providerId="ADAL" clId="{9927B17A-CB63-4A57-8B43-171FA5E9B190}" dt="2025-07-01T05:28:08.496" v="112" actId="20577"/>
          <ac:spMkLst>
            <pc:docMk/>
            <pc:sldMk cId="2200057605" sldId="2147472858"/>
            <ac:spMk id="2" creationId="{E5E0DD37-A748-1435-2DEE-05702A31B54B}"/>
          </ac:spMkLst>
        </pc:spChg>
      </pc:sldChg>
      <pc:sldChg chg="modSp add">
        <pc:chgData name="Kamboj, Sandeep" userId="b1434cc5-997d-4115-b984-843629191137" providerId="ADAL" clId="{9927B17A-CB63-4A57-8B43-171FA5E9B190}" dt="2025-07-01T05:28:35.729" v="118"/>
        <pc:sldMkLst>
          <pc:docMk/>
          <pc:sldMk cId="54830274" sldId="2147472859"/>
        </pc:sldMkLst>
        <pc:spChg chg="mod">
          <ac:chgData name="Kamboj, Sandeep" userId="b1434cc5-997d-4115-b984-843629191137" providerId="ADAL" clId="{9927B17A-CB63-4A57-8B43-171FA5E9B190}" dt="2025-07-01T05:28:35.729" v="118"/>
          <ac:spMkLst>
            <pc:docMk/>
            <pc:sldMk cId="54830274" sldId="2147472859"/>
            <ac:spMk id="2" creationId="{5A34331B-B02A-A683-8E4A-715AADE9165E}"/>
          </ac:spMkLst>
        </pc:spChg>
      </pc:sldChg>
      <pc:sldChg chg="del">
        <pc:chgData name="Kamboj, Sandeep" userId="b1434cc5-997d-4115-b984-843629191137" providerId="ADAL" clId="{9927B17A-CB63-4A57-8B43-171FA5E9B190}" dt="2025-07-01T05:24:52.589" v="7" actId="47"/>
        <pc:sldMkLst>
          <pc:docMk/>
          <pc:sldMk cId="1344681970" sldId="2147473644"/>
        </pc:sldMkLst>
      </pc:sldChg>
      <pc:sldChg chg="del">
        <pc:chgData name="Kamboj, Sandeep" userId="b1434cc5-997d-4115-b984-843629191137" providerId="ADAL" clId="{9927B17A-CB63-4A57-8B43-171FA5E9B190}" dt="2025-07-01T05:24:51.451" v="4" actId="47"/>
        <pc:sldMkLst>
          <pc:docMk/>
          <pc:sldMk cId="760829885" sldId="2147473646"/>
        </pc:sldMkLst>
      </pc:sldChg>
      <pc:sldChg chg="del">
        <pc:chgData name="Kamboj, Sandeep" userId="b1434cc5-997d-4115-b984-843629191137" providerId="ADAL" clId="{9927B17A-CB63-4A57-8B43-171FA5E9B190}" dt="2025-07-01T05:24:50.264" v="1" actId="47"/>
        <pc:sldMkLst>
          <pc:docMk/>
          <pc:sldMk cId="3410564767" sldId="2147473647"/>
        </pc:sldMkLst>
      </pc:sldChg>
      <pc:sldChg chg="del">
        <pc:chgData name="Kamboj, Sandeep" userId="b1434cc5-997d-4115-b984-843629191137" providerId="ADAL" clId="{9927B17A-CB63-4A57-8B43-171FA5E9B190}" dt="2025-07-01T05:24:51.962" v="6" actId="47"/>
        <pc:sldMkLst>
          <pc:docMk/>
          <pc:sldMk cId="3200447323" sldId="2147473649"/>
        </pc:sldMkLst>
      </pc:sldChg>
      <pc:sldChg chg="del">
        <pc:chgData name="Kamboj, Sandeep" userId="b1434cc5-997d-4115-b984-843629191137" providerId="ADAL" clId="{9927B17A-CB63-4A57-8B43-171FA5E9B190}" dt="2025-07-01T05:24:52.807" v="8" actId="47"/>
        <pc:sldMkLst>
          <pc:docMk/>
          <pc:sldMk cId="3926281872" sldId="2147473650"/>
        </pc:sldMkLst>
      </pc:sldChg>
      <pc:sldChg chg="del">
        <pc:chgData name="Kamboj, Sandeep" userId="b1434cc5-997d-4115-b984-843629191137" providerId="ADAL" clId="{9927B17A-CB63-4A57-8B43-171FA5E9B190}" dt="2025-07-01T05:24:53.173" v="10" actId="47"/>
        <pc:sldMkLst>
          <pc:docMk/>
          <pc:sldMk cId="3866167173" sldId="2147473651"/>
        </pc:sldMkLst>
      </pc:sldChg>
      <pc:sldChg chg="del">
        <pc:chgData name="Kamboj, Sandeep" userId="b1434cc5-997d-4115-b984-843629191137" providerId="ADAL" clId="{9927B17A-CB63-4A57-8B43-171FA5E9B190}" dt="2025-07-01T05:24:50.739" v="2" actId="47"/>
        <pc:sldMkLst>
          <pc:docMk/>
          <pc:sldMk cId="856342150" sldId="2147473652"/>
        </pc:sldMkLst>
      </pc:sldChg>
      <pc:sldChg chg="del">
        <pc:chgData name="Kamboj, Sandeep" userId="b1434cc5-997d-4115-b984-843629191137" providerId="ADAL" clId="{9927B17A-CB63-4A57-8B43-171FA5E9B190}" dt="2025-07-01T05:24:51.671" v="5" actId="47"/>
        <pc:sldMkLst>
          <pc:docMk/>
          <pc:sldMk cId="3323795960" sldId="2147473653"/>
        </pc:sldMkLst>
      </pc:sldChg>
      <pc:sldChg chg="del">
        <pc:chgData name="Kamboj, Sandeep" userId="b1434cc5-997d-4115-b984-843629191137" providerId="ADAL" clId="{9927B17A-CB63-4A57-8B43-171FA5E9B190}" dt="2025-07-01T05:24:49.784" v="0" actId="47"/>
        <pc:sldMkLst>
          <pc:docMk/>
          <pc:sldMk cId="972763446" sldId="2147473654"/>
        </pc:sldMkLst>
      </pc:sldChg>
    </pc:docChg>
  </pc:docChgLst>
  <pc:docChgLst>
    <pc:chgData name="Biradar, Shivasagar" userId="S::sbiradar@in.imshealth.com::4b865266-c56a-491e-9f88-d9f07bb8d3d0" providerId="AD" clId="Web-{0845C1B1-68AF-A83E-00D1-26548248205C}"/>
    <pc:docChg chg="modSld">
      <pc:chgData name="Biradar, Shivasagar" userId="S::sbiradar@in.imshealth.com::4b865266-c56a-491e-9f88-d9f07bb8d3d0" providerId="AD" clId="Web-{0845C1B1-68AF-A83E-00D1-26548248205C}" dt="2025-07-01T15:31:10.329" v="66" actId="20577"/>
      <pc:docMkLst>
        <pc:docMk/>
      </pc:docMkLst>
      <pc:sldChg chg="modSp modNotes">
        <pc:chgData name="Biradar, Shivasagar" userId="S::sbiradar@in.imshealth.com::4b865266-c56a-491e-9f88-d9f07bb8d3d0" providerId="AD" clId="Web-{0845C1B1-68AF-A83E-00D1-26548248205C}" dt="2025-07-01T15:30:25.219" v="42"/>
        <pc:sldMkLst>
          <pc:docMk/>
          <pc:sldMk cId="1263283585" sldId="5530"/>
        </pc:sldMkLst>
        <pc:spChg chg="mod">
          <ac:chgData name="Biradar, Shivasagar" userId="S::sbiradar@in.imshealth.com::4b865266-c56a-491e-9f88-d9f07bb8d3d0" providerId="AD" clId="Web-{0845C1B1-68AF-A83E-00D1-26548248205C}" dt="2025-07-01T14:55:09.024" v="27" actId="14100"/>
          <ac:spMkLst>
            <pc:docMk/>
            <pc:sldMk cId="1263283585" sldId="5530"/>
            <ac:spMk id="7" creationId="{5853AA08-F1D5-EC49-97EC-8A66AE278B3F}"/>
          </ac:spMkLst>
        </pc:spChg>
      </pc:sldChg>
      <pc:sldChg chg="delSp modSp modNotes">
        <pc:chgData name="Biradar, Shivasagar" userId="S::sbiradar@in.imshealth.com::4b865266-c56a-491e-9f88-d9f07bb8d3d0" providerId="AD" clId="Web-{0845C1B1-68AF-A83E-00D1-26548248205C}" dt="2025-07-01T15:31:10.329" v="66" actId="20577"/>
        <pc:sldMkLst>
          <pc:docMk/>
          <pc:sldMk cId="607230125" sldId="5532"/>
        </pc:sldMkLst>
        <pc:spChg chg="mod">
          <ac:chgData name="Biradar, Shivasagar" userId="S::sbiradar@in.imshealth.com::4b865266-c56a-491e-9f88-d9f07bb8d3d0" providerId="AD" clId="Web-{0845C1B1-68AF-A83E-00D1-26548248205C}" dt="2025-07-01T15:31:10.329" v="66" actId="20577"/>
          <ac:spMkLst>
            <pc:docMk/>
            <pc:sldMk cId="607230125" sldId="5532"/>
            <ac:spMk id="2" creationId="{AB790AD6-588F-1F81-8F4D-7C6B6B1A8DB5}"/>
          </ac:spMkLst>
        </pc:spChg>
        <pc:spChg chg="del">
          <ac:chgData name="Biradar, Shivasagar" userId="S::sbiradar@in.imshealth.com::4b865266-c56a-491e-9f88-d9f07bb8d3d0" providerId="AD" clId="Web-{0845C1B1-68AF-A83E-00D1-26548248205C}" dt="2025-07-01T13:09:30.188" v="2"/>
          <ac:spMkLst>
            <pc:docMk/>
            <pc:sldMk cId="607230125" sldId="5532"/>
            <ac:spMk id="4" creationId="{359497EA-0D56-E374-CB43-7CCD11FB1938}"/>
          </ac:spMkLst>
        </pc:spChg>
      </pc:sldChg>
    </pc:docChg>
  </pc:docChgLst>
  <pc:docChgLst>
    <pc:chgData name="Pavuluri, Srujana" userId="S::srujana.pavuluri@quintiles.com::85b66889-2239-49e2-a0ec-c0edacf7cba9" providerId="AD" clId="Web-{C48249D3-4D1A-1899-1D0D-4370519A4CBD}"/>
    <pc:docChg chg="addSld">
      <pc:chgData name="Pavuluri, Srujana" userId="S::srujana.pavuluri@quintiles.com::85b66889-2239-49e2-a0ec-c0edacf7cba9" providerId="AD" clId="Web-{C48249D3-4D1A-1899-1D0D-4370519A4CBD}" dt="2025-07-01T12:46:08.809" v="1"/>
      <pc:docMkLst>
        <pc:docMk/>
      </pc:docMkLst>
      <pc:sldChg chg="add">
        <pc:chgData name="Pavuluri, Srujana" userId="S::srujana.pavuluri@quintiles.com::85b66889-2239-49e2-a0ec-c0edacf7cba9" providerId="AD" clId="Web-{C48249D3-4D1A-1899-1D0D-4370519A4CBD}" dt="2025-07-01T12:46:08.793" v="0"/>
        <pc:sldMkLst>
          <pc:docMk/>
          <pc:sldMk cId="1749209584" sldId="269"/>
        </pc:sldMkLst>
      </pc:sldChg>
      <pc:sldChg chg="add">
        <pc:chgData name="Pavuluri, Srujana" userId="S::srujana.pavuluri@quintiles.com::85b66889-2239-49e2-a0ec-c0edacf7cba9" providerId="AD" clId="Web-{C48249D3-4D1A-1899-1D0D-4370519A4CBD}" dt="2025-07-01T12:46:08.809" v="1"/>
        <pc:sldMkLst>
          <pc:docMk/>
          <pc:sldMk cId="2851825746" sldId="278"/>
        </pc:sldMkLst>
      </pc:sldChg>
    </pc:docChg>
  </pc:docChgLst>
  <pc:docChgLst>
    <pc:chgData name="Pavuluri, Srujana" userId="S::srujana.pavuluri@quintiles.com::85b66889-2239-49e2-a0ec-c0edacf7cba9" providerId="AD" clId="Web-{E813286D-433B-183F-90E3-0FB6FD28B360}"/>
    <pc:docChg chg="addSld modSld">
      <pc:chgData name="Pavuluri, Srujana" userId="S::srujana.pavuluri@quintiles.com::85b66889-2239-49e2-a0ec-c0edacf7cba9" providerId="AD" clId="Web-{E813286D-433B-183F-90E3-0FB6FD28B360}" dt="2025-07-02T11:03:50.276" v="168" actId="20577"/>
      <pc:docMkLst>
        <pc:docMk/>
      </pc:docMkLst>
      <pc:sldChg chg="modSp new">
        <pc:chgData name="Pavuluri, Srujana" userId="S::srujana.pavuluri@quintiles.com::85b66889-2239-49e2-a0ec-c0edacf7cba9" providerId="AD" clId="Web-{E813286D-433B-183F-90E3-0FB6FD28B360}" dt="2025-07-02T11:03:50.276" v="168" actId="20577"/>
        <pc:sldMkLst>
          <pc:docMk/>
          <pc:sldMk cId="1200074199" sldId="2147472860"/>
        </pc:sldMkLst>
        <pc:spChg chg="mod">
          <ac:chgData name="Pavuluri, Srujana" userId="S::srujana.pavuluri@quintiles.com::85b66889-2239-49e2-a0ec-c0edacf7cba9" providerId="AD" clId="Web-{E813286D-433B-183F-90E3-0FB6FD28B360}" dt="2025-07-02T11:03:50.276" v="168" actId="20577"/>
          <ac:spMkLst>
            <pc:docMk/>
            <pc:sldMk cId="1200074199" sldId="2147472860"/>
            <ac:spMk id="2" creationId="{24C832FF-351D-4396-F4AE-D2ABA056DF1A}"/>
          </ac:spMkLst>
        </pc:spChg>
        <pc:spChg chg="mod">
          <ac:chgData name="Pavuluri, Srujana" userId="S::srujana.pavuluri@quintiles.com::85b66889-2239-49e2-a0ec-c0edacf7cba9" providerId="AD" clId="Web-{E813286D-433B-183F-90E3-0FB6FD28B360}" dt="2025-07-02T11:00:50.113" v="139" actId="20577"/>
          <ac:spMkLst>
            <pc:docMk/>
            <pc:sldMk cId="1200074199" sldId="2147472860"/>
            <ac:spMk id="3" creationId="{CEE49F3D-59E0-F70F-E59F-5515B134BA48}"/>
          </ac:spMkLst>
        </pc:spChg>
        <pc:spChg chg="mod">
          <ac:chgData name="Pavuluri, Srujana" userId="S::srujana.pavuluri@quintiles.com::85b66889-2239-49e2-a0ec-c0edacf7cba9" providerId="AD" clId="Web-{E813286D-433B-183F-90E3-0FB6FD28B360}" dt="2025-07-02T10:44:46.846" v="31" actId="20577"/>
          <ac:spMkLst>
            <pc:docMk/>
            <pc:sldMk cId="1200074199" sldId="2147472860"/>
            <ac:spMk id="4" creationId="{30A58876-9101-0AA9-8641-D06EBFB9946E}"/>
          </ac:spMkLst>
        </pc:spChg>
        <pc:spChg chg="mod">
          <ac:chgData name="Pavuluri, Srujana" userId="S::srujana.pavuluri@quintiles.com::85b66889-2239-49e2-a0ec-c0edacf7cba9" providerId="AD" clId="Web-{E813286D-433B-183F-90E3-0FB6FD28B360}" dt="2025-07-02T11:02:52.242" v="162" actId="1076"/>
          <ac:spMkLst>
            <pc:docMk/>
            <pc:sldMk cId="1200074199" sldId="2147472860"/>
            <ac:spMk id="5" creationId="{A0AE8ED1-56A4-B63F-A33F-FB9985C28A17}"/>
          </ac:spMkLst>
        </pc:spChg>
      </pc:sldChg>
    </pc:docChg>
  </pc:docChgLst>
  <pc:docChgLst>
    <pc:chgData name="Pavuluri, Srujana" userId="S::srujana.pavuluri@quintiles.com::85b66889-2239-49e2-a0ec-c0edacf7cba9" providerId="AD" clId="Web-{AF7E27AC-4217-9968-5701-61739893EC27}"/>
    <pc:docChg chg="modSld">
      <pc:chgData name="Pavuluri, Srujana" userId="S::srujana.pavuluri@quintiles.com::85b66889-2239-49e2-a0ec-c0edacf7cba9" providerId="AD" clId="Web-{AF7E27AC-4217-9968-5701-61739893EC27}" dt="2025-07-01T12:47:21.427" v="8" actId="20577"/>
      <pc:docMkLst>
        <pc:docMk/>
      </pc:docMkLst>
      <pc:sldChg chg="modSp">
        <pc:chgData name="Pavuluri, Srujana" userId="S::srujana.pavuluri@quintiles.com::85b66889-2239-49e2-a0ec-c0edacf7cba9" providerId="AD" clId="Web-{AF7E27AC-4217-9968-5701-61739893EC27}" dt="2025-07-01T12:47:21.427" v="8" actId="20577"/>
        <pc:sldMkLst>
          <pc:docMk/>
          <pc:sldMk cId="1749209584" sldId="269"/>
        </pc:sldMkLst>
        <pc:spChg chg="mod">
          <ac:chgData name="Pavuluri, Srujana" userId="S::srujana.pavuluri@quintiles.com::85b66889-2239-49e2-a0ec-c0edacf7cba9" providerId="AD" clId="Web-{AF7E27AC-4217-9968-5701-61739893EC27}" dt="2025-07-01T12:47:21.427" v="8" actId="20577"/>
          <ac:spMkLst>
            <pc:docMk/>
            <pc:sldMk cId="1749209584" sldId="269"/>
            <ac:spMk id="2" creationId="{68DFD1FA-E08F-504C-6EAA-CD50F92679A9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94675" y="279823"/>
            <a:ext cx="4393055" cy="367959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 b="1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94675" y="669161"/>
            <a:ext cx="4393055" cy="153245"/>
          </a:xfrm>
          <a:prstGeom prst="rect">
            <a:avLst/>
          </a:prstGeom>
        </p:spPr>
        <p:txBody>
          <a:bodyPr vert="horz" lIns="93324" tIns="0" rIns="93324" bIns="0" rtlCol="0">
            <a:noAutofit/>
          </a:bodyPr>
          <a:lstStyle>
            <a:lvl1pPr algn="r">
              <a:defRPr sz="1200"/>
            </a:lvl1pPr>
          </a:lstStyle>
          <a:p>
            <a:pPr algn="l"/>
            <a:fld id="{E7A8D578-5E90-413C-9512-130603CF2639}" type="datetimeFigureOut">
              <a:rPr lang="en-US" sz="1000" i="1"/>
              <a:pPr algn="l"/>
              <a:t>7/2/2025</a:t>
            </a:fld>
            <a:endParaRPr lang="en-US" sz="1000" i="1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94691" y="8780243"/>
            <a:ext cx="2893517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 sz="10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306470" y="8780243"/>
            <a:ext cx="1221955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6D32B792-199B-4EBF-B605-6F6C876EB442}" type="slidenum">
              <a:rPr lang="en-US" sz="1000"/>
              <a:t>‹#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91150287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Graphic 18">
            <a:extLst>
              <a:ext uri="{FF2B5EF4-FFF2-40B4-BE49-F238E27FC236}">
                <a16:creationId xmlns:a16="http://schemas.microsoft.com/office/drawing/2014/main" id="{04FCD28D-5205-B14D-9338-E5F52C4B3AFB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13460" y="671457"/>
            <a:ext cx="1555593" cy="281237"/>
          </a:xfrm>
          <a:prstGeom prst="rect">
            <a:avLst/>
          </a:prstGeom>
        </p:spPr>
      </p:pic>
      <p:sp>
        <p:nvSpPr>
          <p:cNvPr id="20" name="Header Placeholder 19">
            <a:extLst>
              <a:ext uri="{FF2B5EF4-FFF2-40B4-BE49-F238E27FC236}">
                <a16:creationId xmlns:a16="http://schemas.microsoft.com/office/drawing/2014/main" id="{44B54E68-49B3-EB4F-9F06-63EBE21271F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21" name="Slide Image Placeholder 20">
            <a:extLst>
              <a:ext uri="{FF2B5EF4-FFF2-40B4-BE49-F238E27FC236}">
                <a16:creationId xmlns:a16="http://schemas.microsoft.com/office/drawing/2014/main" id="{9F80914E-3226-3544-8067-D77A7810E7E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73A95A9D-2083-FD47-8FCC-26405789E46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842376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C3E99797-5A44-E441-B5A2-75267FF5AEB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978275" y="8842376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57C527-D302-0D4C-8820-8247C93BFD8D}" type="slidenum">
              <a:rPr lang="en-US" smtClean="0"/>
              <a:t>‹#›</a:t>
            </a:fld>
            <a:endParaRPr lang="en-US"/>
          </a:p>
        </p:txBody>
      </p:sp>
      <p:sp>
        <p:nvSpPr>
          <p:cNvPr id="24" name="Notes Placeholder 23">
            <a:extLst>
              <a:ext uri="{FF2B5EF4-FFF2-40B4-BE49-F238E27FC236}">
                <a16:creationId xmlns:a16="http://schemas.microsoft.com/office/drawing/2014/main" id="{0824245F-47FC-6845-9612-BB5942EF998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1676" y="4479925"/>
            <a:ext cx="5619750" cy="36655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Date Placeholder 24">
            <a:extLst>
              <a:ext uri="{FF2B5EF4-FFF2-40B4-BE49-F238E27FC236}">
                <a16:creationId xmlns:a16="http://schemas.microsoft.com/office/drawing/2014/main" id="{089E4AFB-44C9-3941-9EFD-0F8219FA48F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978275" y="1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052FF9-2A45-F143-A9E3-2C98D6266DD3}" type="datetimeFigureOut">
              <a:rPr lang="en-US" smtClean="0"/>
              <a:t>7/2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2299678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1174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228600" indent="-111125" algn="l" defTabSz="914400" rtl="0" eaLnBrk="1" latinLnBrk="0" hangingPunct="1">
      <a:spcBef>
        <a:spcPts val="400"/>
      </a:spcBef>
      <a:buFont typeface="Arial" panose="020B0604020202020204" pitchFamily="34" charset="0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460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›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2763" indent="-166688" algn="l" defTabSz="914400" rtl="0" eaLnBrk="1" latinLnBrk="0" hangingPunct="1">
      <a:spcBef>
        <a:spcPts val="400"/>
      </a:spcBef>
      <a:buFont typeface="Arial" panose="020B0604020202020204" pitchFamily="34" charset="0"/>
      <a:buChar char="»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630238" indent="-117475" algn="l" defTabSz="914400" rtl="0" eaLnBrk="1" latinLnBrk="0" hangingPunct="1">
      <a:spcBef>
        <a:spcPts val="400"/>
      </a:spcBef>
      <a:buSzPct val="75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16438" y="6921500"/>
            <a:ext cx="2687637" cy="1512888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96415" y="1314911"/>
            <a:ext cx="6230270" cy="525964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>
          <a:xfrm>
            <a:off x="399926" y="329698"/>
            <a:ext cx="4476874" cy="41891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>
          <a:xfrm>
            <a:off x="5699651" y="8780243"/>
            <a:ext cx="927049" cy="251346"/>
          </a:xfrm>
          <a:prstGeom prst="rect">
            <a:avLst/>
          </a:prstGeom>
        </p:spPr>
        <p:txBody>
          <a:bodyPr/>
          <a:lstStyle/>
          <a:p>
            <a:fld id="{CA61E296-9532-40C3-9174-581AD2B7748B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89273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None/>
            </a:pPr>
            <a:endParaRPr lang="en-US">
              <a:solidFill>
                <a:srgbClr val="000000"/>
              </a:solidFill>
              <a:cs typeface="Arial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57C527-D302-0D4C-8820-8247C93BFD8D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86622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None/>
            </a:pPr>
            <a:endParaRPr lang="en-US" b="1">
              <a:solidFill>
                <a:srgbClr val="000000"/>
              </a:solidFill>
            </a:endParaRPr>
          </a:p>
          <a:p>
            <a:pPr>
              <a:buNone/>
            </a:pPr>
            <a:r>
              <a:rPr lang="en-US" b="1">
                <a:solidFill>
                  <a:srgbClr val="000000"/>
                </a:solidFill>
              </a:rPr>
              <a:t>Facebook</a:t>
            </a:r>
            <a:r>
              <a:rPr lang="en-US">
                <a:solidFill>
                  <a:srgbClr val="000000"/>
                </a:solidFill>
              </a:rPr>
              <a:t>: 1–2 posts per day </a:t>
            </a:r>
            <a:endParaRPr lang="en-US">
              <a:cs typeface="Arial"/>
            </a:endParaRPr>
          </a:p>
          <a:p>
            <a:pPr marL="0" indent="0">
              <a:buNone/>
            </a:pPr>
            <a:r>
              <a:rPr lang="en-US" b="1">
                <a:solidFill>
                  <a:srgbClr val="000000"/>
                </a:solidFill>
              </a:rPr>
              <a:t>Instagram</a:t>
            </a:r>
            <a:r>
              <a:rPr lang="en-US">
                <a:solidFill>
                  <a:srgbClr val="000000"/>
                </a:solidFill>
              </a:rPr>
              <a:t>: 1–2 posts per day and 2–4 stories </a:t>
            </a:r>
            <a:endParaRPr lang="en-US"/>
          </a:p>
          <a:p>
            <a:pPr marL="0" indent="0">
              <a:buNone/>
            </a:pPr>
            <a:r>
              <a:rPr lang="en-US" b="1">
                <a:solidFill>
                  <a:srgbClr val="000000"/>
                </a:solidFill>
              </a:rPr>
              <a:t>Twitter (X)</a:t>
            </a:r>
            <a:r>
              <a:rPr lang="en-US">
                <a:solidFill>
                  <a:srgbClr val="000000"/>
                </a:solidFill>
              </a:rPr>
              <a:t>: 3–4 posts per day </a:t>
            </a:r>
            <a:endParaRPr lang="en-US"/>
          </a:p>
          <a:p>
            <a:pPr marL="0" indent="0">
              <a:buNone/>
            </a:pPr>
            <a:r>
              <a:rPr lang="en-US" b="1">
                <a:solidFill>
                  <a:srgbClr val="000000"/>
                </a:solidFill>
              </a:rPr>
              <a:t>LinkedIn</a:t>
            </a:r>
            <a:r>
              <a:rPr lang="en-US">
                <a:solidFill>
                  <a:srgbClr val="000000"/>
                </a:solidFill>
              </a:rPr>
              <a:t>: 1 post per day</a:t>
            </a:r>
            <a:endParaRPr lang="en-US"/>
          </a:p>
          <a:p>
            <a:pPr marL="0" indent="0">
              <a:buNone/>
            </a:pPr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57C527-D302-0D4C-8820-8247C93BFD8D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24646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4561ED-BBAD-832B-8BEC-FCA333F63B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96FEEE6-BAD9-5B55-38C3-29162ADCDA1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516438" y="6921500"/>
            <a:ext cx="2687637" cy="1512888"/>
          </a:xfrm>
          <a:prstGeom prst="rect">
            <a:avLst/>
          </a:prstGeo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463CD58-11BA-D421-3008-D30D1ACEBB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6415" y="1314911"/>
            <a:ext cx="6230270" cy="525964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B2CED2EF-C5D9-ADDF-880E-A984F1EA06E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399926" y="329698"/>
            <a:ext cx="4476874" cy="41891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E98E666-6D69-9F1B-3F75-35D35306C8B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5699651" y="8780243"/>
            <a:ext cx="927049" cy="251346"/>
          </a:xfrm>
          <a:prstGeom prst="rect">
            <a:avLst/>
          </a:prstGeom>
        </p:spPr>
        <p:txBody>
          <a:bodyPr/>
          <a:lstStyle/>
          <a:p>
            <a:fld id="{CA61E296-9532-40C3-9174-581AD2B7748B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54299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svg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5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4-0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BB76970-59B0-02CE-F0CF-5DF2129D58B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5000">
                <a:srgbClr val="140B42"/>
              </a:gs>
              <a:gs pos="80000">
                <a:srgbClr val="005587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5948681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5948681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</a:t>
            </a:r>
            <a:br>
              <a:rPr lang="en-US"/>
            </a:br>
            <a:r>
              <a:rPr lang="en-US"/>
              <a:t>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5948681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sp>
        <p:nvSpPr>
          <p:cNvPr id="5" name="Rectangle: Top Corners Rounded 4">
            <a:extLst>
              <a:ext uri="{FF2B5EF4-FFF2-40B4-BE49-F238E27FC236}">
                <a16:creationId xmlns:a16="http://schemas.microsoft.com/office/drawing/2014/main" id="{C7CB88CE-AFAB-3162-5EFA-DACFAECFC82B}"/>
              </a:ext>
            </a:extLst>
          </p:cNvPr>
          <p:cNvSpPr/>
          <p:nvPr userDrawn="1"/>
        </p:nvSpPr>
        <p:spPr>
          <a:xfrm rot="16200000">
            <a:off x="10172703" y="704015"/>
            <a:ext cx="877958" cy="316064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78BBCD43-EEDD-17C3-B8E4-320E6ECA340F}"/>
              </a:ext>
            </a:extLst>
          </p:cNvPr>
          <p:cNvSpPr/>
          <p:nvPr userDrawn="1"/>
        </p:nvSpPr>
        <p:spPr>
          <a:xfrm rot="16200000">
            <a:off x="10741443" y="4899986"/>
            <a:ext cx="877958" cy="202316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3" name="Rectangle: Top Corners Rounded 2">
            <a:extLst>
              <a:ext uri="{FF2B5EF4-FFF2-40B4-BE49-F238E27FC236}">
                <a16:creationId xmlns:a16="http://schemas.microsoft.com/office/drawing/2014/main" id="{AC34CDE1-031B-F659-37E6-092E1C8890F5}"/>
              </a:ext>
            </a:extLst>
          </p:cNvPr>
          <p:cNvSpPr/>
          <p:nvPr userDrawn="1"/>
        </p:nvSpPr>
        <p:spPr>
          <a:xfrm rot="16200000">
            <a:off x="7833691" y="1545530"/>
            <a:ext cx="3591342" cy="512527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EEC8515-986E-A47F-4BDA-CED96BF08D65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F0223E2A-EF00-0A08-DA2A-FCB4BDA5AE23}"/>
              </a:ext>
            </a:extLst>
          </p:cNvPr>
          <p:cNvSpPr/>
          <p:nvPr userDrawn="1"/>
        </p:nvSpPr>
        <p:spPr>
          <a:xfrm rot="16200000">
            <a:off x="9058253" y="2934275"/>
            <a:ext cx="877958" cy="5389536"/>
          </a:xfrm>
          <a:custGeom>
            <a:avLst/>
            <a:gdLst>
              <a:gd name="connsiteX0" fmla="*/ 438979 w 877958"/>
              <a:gd name="connsiteY0" fmla="*/ 0 h 5389536"/>
              <a:gd name="connsiteX1" fmla="*/ 438979 w 877958"/>
              <a:gd name="connsiteY1" fmla="*/ 0 h 5389536"/>
              <a:gd name="connsiteX2" fmla="*/ 877958 w 877958"/>
              <a:gd name="connsiteY2" fmla="*/ 438979 h 5389536"/>
              <a:gd name="connsiteX3" fmla="*/ 877958 w 877958"/>
              <a:gd name="connsiteY3" fmla="*/ 5389536 h 5389536"/>
              <a:gd name="connsiteX4" fmla="*/ 877958 w 877958"/>
              <a:gd name="connsiteY4" fmla="*/ 5389536 h 5389536"/>
              <a:gd name="connsiteX5" fmla="*/ 0 w 877958"/>
              <a:gd name="connsiteY5" fmla="*/ 5389536 h 5389536"/>
              <a:gd name="connsiteX6" fmla="*/ 0 w 877958"/>
              <a:gd name="connsiteY6" fmla="*/ 5389536 h 5389536"/>
              <a:gd name="connsiteX7" fmla="*/ 0 w 877958"/>
              <a:gd name="connsiteY7" fmla="*/ 438979 h 5389536"/>
              <a:gd name="connsiteX8" fmla="*/ 438979 w 877958"/>
              <a:gd name="connsiteY8" fmla="*/ 0 h 5389536"/>
              <a:gd name="connsiteX0" fmla="*/ 0 w 877958"/>
              <a:gd name="connsiteY0" fmla="*/ 5389536 h 5480976"/>
              <a:gd name="connsiteX1" fmla="*/ 0 w 877958"/>
              <a:gd name="connsiteY1" fmla="*/ 438979 h 5480976"/>
              <a:gd name="connsiteX2" fmla="*/ 438979 w 877958"/>
              <a:gd name="connsiteY2" fmla="*/ 0 h 5480976"/>
              <a:gd name="connsiteX3" fmla="*/ 438979 w 877958"/>
              <a:gd name="connsiteY3" fmla="*/ 0 h 5480976"/>
              <a:gd name="connsiteX4" fmla="*/ 877958 w 877958"/>
              <a:gd name="connsiteY4" fmla="*/ 438979 h 5480976"/>
              <a:gd name="connsiteX5" fmla="*/ 877958 w 877958"/>
              <a:gd name="connsiteY5" fmla="*/ 5389536 h 5480976"/>
              <a:gd name="connsiteX6" fmla="*/ 877958 w 877958"/>
              <a:gd name="connsiteY6" fmla="*/ 5389536 h 5480976"/>
              <a:gd name="connsiteX7" fmla="*/ 0 w 877958"/>
              <a:gd name="connsiteY7" fmla="*/ 5389536 h 5480976"/>
              <a:gd name="connsiteX8" fmla="*/ 91440 w 877958"/>
              <a:gd name="connsiteY8" fmla="*/ 5480976 h 5480976"/>
              <a:gd name="connsiteX0" fmla="*/ 0 w 877958"/>
              <a:gd name="connsiteY0" fmla="*/ 5389536 h 5389536"/>
              <a:gd name="connsiteX1" fmla="*/ 0 w 877958"/>
              <a:gd name="connsiteY1" fmla="*/ 438979 h 5389536"/>
              <a:gd name="connsiteX2" fmla="*/ 438979 w 877958"/>
              <a:gd name="connsiteY2" fmla="*/ 0 h 5389536"/>
              <a:gd name="connsiteX3" fmla="*/ 438979 w 877958"/>
              <a:gd name="connsiteY3" fmla="*/ 0 h 5389536"/>
              <a:gd name="connsiteX4" fmla="*/ 877958 w 877958"/>
              <a:gd name="connsiteY4" fmla="*/ 438979 h 5389536"/>
              <a:gd name="connsiteX5" fmla="*/ 877958 w 877958"/>
              <a:gd name="connsiteY5" fmla="*/ 5389536 h 5389536"/>
              <a:gd name="connsiteX6" fmla="*/ 877958 w 877958"/>
              <a:gd name="connsiteY6" fmla="*/ 5389536 h 5389536"/>
              <a:gd name="connsiteX7" fmla="*/ 0 w 877958"/>
              <a:gd name="connsiteY7" fmla="*/ 5389536 h 5389536"/>
              <a:gd name="connsiteX0" fmla="*/ 0 w 877958"/>
              <a:gd name="connsiteY0" fmla="*/ 5389536 h 5389536"/>
              <a:gd name="connsiteX1" fmla="*/ 0 w 877958"/>
              <a:gd name="connsiteY1" fmla="*/ 438979 h 5389536"/>
              <a:gd name="connsiteX2" fmla="*/ 438979 w 877958"/>
              <a:gd name="connsiteY2" fmla="*/ 0 h 5389536"/>
              <a:gd name="connsiteX3" fmla="*/ 438979 w 877958"/>
              <a:gd name="connsiteY3" fmla="*/ 0 h 5389536"/>
              <a:gd name="connsiteX4" fmla="*/ 877958 w 877958"/>
              <a:gd name="connsiteY4" fmla="*/ 438979 h 5389536"/>
              <a:gd name="connsiteX5" fmla="*/ 877958 w 877958"/>
              <a:gd name="connsiteY5" fmla="*/ 5389536 h 5389536"/>
              <a:gd name="connsiteX6" fmla="*/ 877958 w 877958"/>
              <a:gd name="connsiteY6" fmla="*/ 5389536 h 5389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7958" h="5389536">
                <a:moveTo>
                  <a:pt x="0" y="5389536"/>
                </a:moveTo>
                <a:lnTo>
                  <a:pt x="0" y="438979"/>
                </a:lnTo>
                <a:cubicBezTo>
                  <a:pt x="0" y="196538"/>
                  <a:pt x="196538" y="0"/>
                  <a:pt x="438979" y="0"/>
                </a:cubicBezTo>
                <a:lnTo>
                  <a:pt x="438979" y="0"/>
                </a:lnTo>
                <a:cubicBezTo>
                  <a:pt x="681420" y="0"/>
                  <a:pt x="877958" y="196538"/>
                  <a:pt x="877958" y="438979"/>
                </a:cubicBezTo>
                <a:lnTo>
                  <a:pt x="877958" y="5389536"/>
                </a:lnTo>
                <a:lnTo>
                  <a:pt x="877958" y="5389536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endParaRPr lang="en-US" sz="1600" err="1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025B28D-E9A6-1255-B443-7613304201B6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1709"/>
          <a:stretch/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53385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o-Brand 2024-04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6270413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70413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70413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5A4C8A-6879-7FCB-0A76-F16EBB9CEB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9F0BC72C-1AD7-E7CA-ECEC-E76873446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281375" y="4854606"/>
            <a:ext cx="2324100" cy="1341752"/>
          </a:xfrm>
          <a:prstGeom prst="rect">
            <a:avLst/>
          </a:prstGeom>
          <a:solidFill>
            <a:srgbClr val="DA291C"/>
          </a:solidFill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-brand and bid defense only: You may replace this box with a sponsor logo. Ensure the logo is on a white or transparent background and you have usage permission.</a:t>
            </a:r>
            <a:br>
              <a:rPr lang="en-US"/>
            </a:br>
            <a:br>
              <a:rPr lang="en-US"/>
            </a:br>
            <a:r>
              <a:rPr lang="en-US"/>
              <a:t>All other presentations, or without sponsor logo: Please delete this box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795383A-AB7C-A1C6-5711-CA54E3E52A6D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4493F902-AAD1-8100-DE89-9A4C865E166B}"/>
              </a:ext>
            </a:extLst>
          </p:cNvPr>
          <p:cNvSpPr/>
          <p:nvPr userDrawn="1"/>
        </p:nvSpPr>
        <p:spPr>
          <a:xfrm rot="2700000">
            <a:off x="9798166" y="-906004"/>
            <a:ext cx="1193902" cy="4301542"/>
          </a:xfrm>
          <a:custGeom>
            <a:avLst/>
            <a:gdLst>
              <a:gd name="connsiteX0" fmla="*/ 0 w 1193902"/>
              <a:gd name="connsiteY0" fmla="*/ 987355 h 4301542"/>
              <a:gd name="connsiteX1" fmla="*/ 987355 w 1193902"/>
              <a:gd name="connsiteY1" fmla="*/ 0 h 4301542"/>
              <a:gd name="connsiteX2" fmla="*/ 1193902 w 1193902"/>
              <a:gd name="connsiteY2" fmla="*/ 206546 h 4301542"/>
              <a:gd name="connsiteX3" fmla="*/ 1193901 w 1193902"/>
              <a:gd name="connsiteY3" fmla="*/ 3704591 h 4301542"/>
              <a:gd name="connsiteX4" fmla="*/ 596950 w 1193902"/>
              <a:gd name="connsiteY4" fmla="*/ 4301542 h 4301542"/>
              <a:gd name="connsiteX5" fmla="*/ 596951 w 1193902"/>
              <a:gd name="connsiteY5" fmla="*/ 4301541 h 4301542"/>
              <a:gd name="connsiteX6" fmla="*/ 0 w 1193902"/>
              <a:gd name="connsiteY6" fmla="*/ 3704590 h 4301542"/>
              <a:gd name="connsiteX0" fmla="*/ 987355 w 1193902"/>
              <a:gd name="connsiteY0" fmla="*/ 0 h 4301542"/>
              <a:gd name="connsiteX1" fmla="*/ 1193902 w 1193902"/>
              <a:gd name="connsiteY1" fmla="*/ 206546 h 4301542"/>
              <a:gd name="connsiteX2" fmla="*/ 1193901 w 1193902"/>
              <a:gd name="connsiteY2" fmla="*/ 3704591 h 4301542"/>
              <a:gd name="connsiteX3" fmla="*/ 596950 w 1193902"/>
              <a:gd name="connsiteY3" fmla="*/ 4301542 h 4301542"/>
              <a:gd name="connsiteX4" fmla="*/ 596951 w 1193902"/>
              <a:gd name="connsiteY4" fmla="*/ 4301541 h 4301542"/>
              <a:gd name="connsiteX5" fmla="*/ 0 w 1193902"/>
              <a:gd name="connsiteY5" fmla="*/ 3704590 h 4301542"/>
              <a:gd name="connsiteX6" fmla="*/ 0 w 1193902"/>
              <a:gd name="connsiteY6" fmla="*/ 987355 h 4301542"/>
              <a:gd name="connsiteX7" fmla="*/ 1078795 w 1193902"/>
              <a:gd name="connsiteY7" fmla="*/ 91440 h 4301542"/>
              <a:gd name="connsiteX0" fmla="*/ 987355 w 1193902"/>
              <a:gd name="connsiteY0" fmla="*/ 0 h 4301542"/>
              <a:gd name="connsiteX1" fmla="*/ 1193902 w 1193902"/>
              <a:gd name="connsiteY1" fmla="*/ 206546 h 4301542"/>
              <a:gd name="connsiteX2" fmla="*/ 1193901 w 1193902"/>
              <a:gd name="connsiteY2" fmla="*/ 3704591 h 4301542"/>
              <a:gd name="connsiteX3" fmla="*/ 596950 w 1193902"/>
              <a:gd name="connsiteY3" fmla="*/ 4301542 h 4301542"/>
              <a:gd name="connsiteX4" fmla="*/ 596951 w 1193902"/>
              <a:gd name="connsiteY4" fmla="*/ 4301541 h 4301542"/>
              <a:gd name="connsiteX5" fmla="*/ 0 w 1193902"/>
              <a:gd name="connsiteY5" fmla="*/ 3704590 h 4301542"/>
              <a:gd name="connsiteX6" fmla="*/ 0 w 1193902"/>
              <a:gd name="connsiteY6" fmla="*/ 987355 h 4301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3902" h="4301542">
                <a:moveTo>
                  <a:pt x="987355" y="0"/>
                </a:moveTo>
                <a:lnTo>
                  <a:pt x="1193902" y="206546"/>
                </a:lnTo>
                <a:cubicBezTo>
                  <a:pt x="1193902" y="1372561"/>
                  <a:pt x="1193901" y="2538576"/>
                  <a:pt x="1193901" y="3704591"/>
                </a:cubicBezTo>
                <a:cubicBezTo>
                  <a:pt x="1193901" y="4034278"/>
                  <a:pt x="926637" y="4301542"/>
                  <a:pt x="596950" y="4301542"/>
                </a:cubicBezTo>
                <a:lnTo>
                  <a:pt x="596951" y="4301541"/>
                </a:lnTo>
                <a:cubicBezTo>
                  <a:pt x="267264" y="4301541"/>
                  <a:pt x="0" y="4034277"/>
                  <a:pt x="0" y="3704590"/>
                </a:cubicBezTo>
                <a:lnTo>
                  <a:pt x="0" y="987355"/>
                </a:lnTo>
              </a:path>
            </a:pathLst>
          </a:cu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7FC2DBB2-A181-4E29-6CCA-A8F30AC33C44}"/>
              </a:ext>
            </a:extLst>
          </p:cNvPr>
          <p:cNvSpPr/>
          <p:nvPr userDrawn="1"/>
        </p:nvSpPr>
        <p:spPr>
          <a:xfrm rot="2700000">
            <a:off x="11019741" y="1955164"/>
            <a:ext cx="825711" cy="2790751"/>
          </a:xfrm>
          <a:custGeom>
            <a:avLst/>
            <a:gdLst>
              <a:gd name="connsiteX0" fmla="*/ 0 w 825711"/>
              <a:gd name="connsiteY0" fmla="*/ 0 h 2882191"/>
              <a:gd name="connsiteX1" fmla="*/ 825711 w 825711"/>
              <a:gd name="connsiteY1" fmla="*/ 825711 h 2882191"/>
              <a:gd name="connsiteX2" fmla="*/ 825711 w 825711"/>
              <a:gd name="connsiteY2" fmla="*/ 2469335 h 2882191"/>
              <a:gd name="connsiteX3" fmla="*/ 412855 w 825711"/>
              <a:gd name="connsiteY3" fmla="*/ 2882191 h 2882191"/>
              <a:gd name="connsiteX4" fmla="*/ 412856 w 825711"/>
              <a:gd name="connsiteY4" fmla="*/ 2882190 h 2882191"/>
              <a:gd name="connsiteX5" fmla="*/ 0 w 825711"/>
              <a:gd name="connsiteY5" fmla="*/ 2469334 h 2882191"/>
              <a:gd name="connsiteX0" fmla="*/ 0 w 825711"/>
              <a:gd name="connsiteY0" fmla="*/ 0 h 2882191"/>
              <a:gd name="connsiteX1" fmla="*/ 825711 w 825711"/>
              <a:gd name="connsiteY1" fmla="*/ 825711 h 2882191"/>
              <a:gd name="connsiteX2" fmla="*/ 825711 w 825711"/>
              <a:gd name="connsiteY2" fmla="*/ 2469335 h 2882191"/>
              <a:gd name="connsiteX3" fmla="*/ 412855 w 825711"/>
              <a:gd name="connsiteY3" fmla="*/ 2882191 h 2882191"/>
              <a:gd name="connsiteX4" fmla="*/ 412856 w 825711"/>
              <a:gd name="connsiteY4" fmla="*/ 2882190 h 2882191"/>
              <a:gd name="connsiteX5" fmla="*/ 0 w 825711"/>
              <a:gd name="connsiteY5" fmla="*/ 2469334 h 2882191"/>
              <a:gd name="connsiteX6" fmla="*/ 91440 w 825711"/>
              <a:gd name="connsiteY6" fmla="*/ 91440 h 2882191"/>
              <a:gd name="connsiteX0" fmla="*/ 825711 w 825711"/>
              <a:gd name="connsiteY0" fmla="*/ 734271 h 2790751"/>
              <a:gd name="connsiteX1" fmla="*/ 825711 w 825711"/>
              <a:gd name="connsiteY1" fmla="*/ 2377895 h 2790751"/>
              <a:gd name="connsiteX2" fmla="*/ 412855 w 825711"/>
              <a:gd name="connsiteY2" fmla="*/ 2790751 h 2790751"/>
              <a:gd name="connsiteX3" fmla="*/ 412856 w 825711"/>
              <a:gd name="connsiteY3" fmla="*/ 2790750 h 2790751"/>
              <a:gd name="connsiteX4" fmla="*/ 0 w 825711"/>
              <a:gd name="connsiteY4" fmla="*/ 2377894 h 2790751"/>
              <a:gd name="connsiteX5" fmla="*/ 91440 w 825711"/>
              <a:gd name="connsiteY5" fmla="*/ 0 h 2790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5711" h="2790751">
                <a:moveTo>
                  <a:pt x="825711" y="734271"/>
                </a:moveTo>
                <a:lnTo>
                  <a:pt x="825711" y="2377895"/>
                </a:lnTo>
                <a:cubicBezTo>
                  <a:pt x="825711" y="2605909"/>
                  <a:pt x="640869" y="2790751"/>
                  <a:pt x="412855" y="2790751"/>
                </a:cubicBezTo>
                <a:lnTo>
                  <a:pt x="412856" y="2790750"/>
                </a:lnTo>
                <a:cubicBezTo>
                  <a:pt x="184842" y="2790750"/>
                  <a:pt x="0" y="2605908"/>
                  <a:pt x="0" y="2377894"/>
                </a:cubicBezTo>
                <a:cubicBezTo>
                  <a:pt x="0" y="1554783"/>
                  <a:pt x="91440" y="0"/>
                  <a:pt x="91440" y="0"/>
                </a:cubicBezTo>
              </a:path>
            </a:pathLst>
          </a:custGeom>
          <a:noFill/>
          <a:ln w="12700">
            <a:solidFill>
              <a:srgbClr val="2B3A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AFC722F8-9A5C-19E5-0242-1E41CA5B41E8}"/>
              </a:ext>
            </a:extLst>
          </p:cNvPr>
          <p:cNvSpPr/>
          <p:nvPr userDrawn="1"/>
        </p:nvSpPr>
        <p:spPr>
          <a:xfrm rot="2700000">
            <a:off x="10059962" y="-488825"/>
            <a:ext cx="1032256" cy="5442037"/>
          </a:xfrm>
          <a:custGeom>
            <a:avLst/>
            <a:gdLst>
              <a:gd name="connsiteX0" fmla="*/ 0 w 1032256"/>
              <a:gd name="connsiteY0" fmla="*/ 80350 h 5442037"/>
              <a:gd name="connsiteX1" fmla="*/ 80350 w 1032256"/>
              <a:gd name="connsiteY1" fmla="*/ 0 h 5442037"/>
              <a:gd name="connsiteX2" fmla="*/ 1032256 w 1032256"/>
              <a:gd name="connsiteY2" fmla="*/ 951906 h 5442037"/>
              <a:gd name="connsiteX3" fmla="*/ 1032255 w 1032256"/>
              <a:gd name="connsiteY3" fmla="*/ 4925909 h 5442037"/>
              <a:gd name="connsiteX4" fmla="*/ 516127 w 1032256"/>
              <a:gd name="connsiteY4" fmla="*/ 5442037 h 5442037"/>
              <a:gd name="connsiteX5" fmla="*/ 516128 w 1032256"/>
              <a:gd name="connsiteY5" fmla="*/ 5442036 h 5442037"/>
              <a:gd name="connsiteX6" fmla="*/ 0 w 1032256"/>
              <a:gd name="connsiteY6" fmla="*/ 4925908 h 5442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32256" h="5442037">
                <a:moveTo>
                  <a:pt x="0" y="80350"/>
                </a:moveTo>
                <a:lnTo>
                  <a:pt x="80350" y="0"/>
                </a:lnTo>
                <a:lnTo>
                  <a:pt x="1032256" y="951906"/>
                </a:lnTo>
                <a:lnTo>
                  <a:pt x="1032255" y="4925909"/>
                </a:lnTo>
                <a:cubicBezTo>
                  <a:pt x="1032255" y="5210959"/>
                  <a:pt x="801177" y="5442037"/>
                  <a:pt x="516127" y="5442037"/>
                </a:cubicBezTo>
                <a:lnTo>
                  <a:pt x="516128" y="5442036"/>
                </a:lnTo>
                <a:cubicBezTo>
                  <a:pt x="231078" y="5442036"/>
                  <a:pt x="0" y="5210958"/>
                  <a:pt x="0" y="4925908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461D5A5C-10B5-236E-C5A3-320C49CAC101}"/>
              </a:ext>
            </a:extLst>
          </p:cNvPr>
          <p:cNvSpPr/>
          <p:nvPr userDrawn="1"/>
        </p:nvSpPr>
        <p:spPr>
          <a:xfrm rot="2700000">
            <a:off x="10155384" y="-743160"/>
            <a:ext cx="619166" cy="4750557"/>
          </a:xfrm>
          <a:custGeom>
            <a:avLst/>
            <a:gdLst>
              <a:gd name="connsiteX0" fmla="*/ 0 w 619166"/>
              <a:gd name="connsiteY0" fmla="*/ 376697 h 4750557"/>
              <a:gd name="connsiteX1" fmla="*/ 376697 w 619166"/>
              <a:gd name="connsiteY1" fmla="*/ 0 h 4750557"/>
              <a:gd name="connsiteX2" fmla="*/ 619166 w 619166"/>
              <a:gd name="connsiteY2" fmla="*/ 242469 h 4750557"/>
              <a:gd name="connsiteX3" fmla="*/ 619165 w 619166"/>
              <a:gd name="connsiteY3" fmla="*/ 4440974 h 4750557"/>
              <a:gd name="connsiteX4" fmla="*/ 309582 w 619166"/>
              <a:gd name="connsiteY4" fmla="*/ 4750557 h 4750557"/>
              <a:gd name="connsiteX5" fmla="*/ 309583 w 619166"/>
              <a:gd name="connsiteY5" fmla="*/ 4750556 h 4750557"/>
              <a:gd name="connsiteX6" fmla="*/ 0 w 619166"/>
              <a:gd name="connsiteY6" fmla="*/ 4440973 h 47505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9166" h="4750557">
                <a:moveTo>
                  <a:pt x="0" y="376697"/>
                </a:moveTo>
                <a:lnTo>
                  <a:pt x="376697" y="0"/>
                </a:lnTo>
                <a:lnTo>
                  <a:pt x="619166" y="242469"/>
                </a:lnTo>
                <a:lnTo>
                  <a:pt x="619165" y="4440974"/>
                </a:lnTo>
                <a:cubicBezTo>
                  <a:pt x="619165" y="4611952"/>
                  <a:pt x="480560" y="4750557"/>
                  <a:pt x="309582" y="4750557"/>
                </a:cubicBezTo>
                <a:lnTo>
                  <a:pt x="309583" y="4750556"/>
                </a:lnTo>
                <a:cubicBezTo>
                  <a:pt x="138605" y="4750556"/>
                  <a:pt x="0" y="4611951"/>
                  <a:pt x="0" y="4440973"/>
                </a:cubicBezTo>
                <a:close/>
              </a:path>
            </a:pathLst>
          </a:custGeom>
          <a:solidFill>
            <a:srgbClr val="0CEF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endParaRPr lang="en-US" sz="1600" err="1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F380E180-0B33-1124-60B3-4CE23784FB15}"/>
              </a:ext>
            </a:extLst>
          </p:cNvPr>
          <p:cNvSpPr/>
          <p:nvPr userDrawn="1"/>
        </p:nvSpPr>
        <p:spPr>
          <a:xfrm rot="2700000">
            <a:off x="10829819" y="1073856"/>
            <a:ext cx="825711" cy="3510810"/>
          </a:xfrm>
          <a:custGeom>
            <a:avLst/>
            <a:gdLst>
              <a:gd name="connsiteX0" fmla="*/ 0 w 825711"/>
              <a:gd name="connsiteY0" fmla="*/ 0 h 3510810"/>
              <a:gd name="connsiteX1" fmla="*/ 825711 w 825711"/>
              <a:gd name="connsiteY1" fmla="*/ 825711 h 3510810"/>
              <a:gd name="connsiteX2" fmla="*/ 825711 w 825711"/>
              <a:gd name="connsiteY2" fmla="*/ 3097954 h 3510810"/>
              <a:gd name="connsiteX3" fmla="*/ 412855 w 825711"/>
              <a:gd name="connsiteY3" fmla="*/ 3510810 h 3510810"/>
              <a:gd name="connsiteX4" fmla="*/ 412856 w 825711"/>
              <a:gd name="connsiteY4" fmla="*/ 3510809 h 3510810"/>
              <a:gd name="connsiteX5" fmla="*/ 0 w 825711"/>
              <a:gd name="connsiteY5" fmla="*/ 3097953 h 3510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5711" h="3510810">
                <a:moveTo>
                  <a:pt x="0" y="0"/>
                </a:moveTo>
                <a:lnTo>
                  <a:pt x="825711" y="825711"/>
                </a:lnTo>
                <a:lnTo>
                  <a:pt x="825711" y="3097954"/>
                </a:lnTo>
                <a:cubicBezTo>
                  <a:pt x="825711" y="3325968"/>
                  <a:pt x="640869" y="3510810"/>
                  <a:pt x="412855" y="3510810"/>
                </a:cubicBezTo>
                <a:lnTo>
                  <a:pt x="412856" y="3510809"/>
                </a:lnTo>
                <a:cubicBezTo>
                  <a:pt x="184842" y="3510809"/>
                  <a:pt x="0" y="3325967"/>
                  <a:pt x="0" y="309795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2582565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286359"/>
            <a:ext cx="11338560" cy="499412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4" name="Footer Placeholder 4">
            <a:extLst>
              <a:ext uri="{FF2B5EF4-FFF2-40B4-BE49-F238E27FC236}">
                <a16:creationId xmlns:a16="http://schemas.microsoft.com/office/drawing/2014/main" id="{7088911A-0046-5847-8D5E-667B718ECD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FCFC63C0-5262-4767-9F93-DEDAECE24DB7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B41C48F-5C1D-DE41-93AD-B4E269C3B3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40965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Subhead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Content Placeholder 2">
            <a:extLst>
              <a:ext uri="{FF2B5EF4-FFF2-40B4-BE49-F238E27FC236}">
                <a16:creationId xmlns:a16="http://schemas.microsoft.com/office/drawing/2014/main" id="{098016E9-779F-F844-B7C6-670D5E2ED4DC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30"/>
            <a:ext cx="11338560" cy="45778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6" name="Footer Placeholder 4">
            <a:extLst>
              <a:ext uri="{FF2B5EF4-FFF2-40B4-BE49-F238E27FC236}">
                <a16:creationId xmlns:a16="http://schemas.microsoft.com/office/drawing/2014/main" id="{4C2A7798-04D8-114F-865E-17D9C5B73E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80491F4-CBE5-420D-B41C-DA1186C29721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C127A24E-C6A6-B348-9405-8C826F52F9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80125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phic 16">
            <a:extLst>
              <a:ext uri="{FF2B5EF4-FFF2-40B4-BE49-F238E27FC236}">
                <a16:creationId xmlns:a16="http://schemas.microsoft.com/office/drawing/2014/main" id="{B39BD980-859A-ED43-B5E0-B78C35812A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531A8FC-B139-A448-96B7-DB54D8693F95}"/>
              </a:ext>
            </a:extLst>
          </p:cNvPr>
          <p:cNvCxnSpPr>
            <a:cxnSpLocks/>
          </p:cNvCxnSpPr>
          <p:nvPr/>
        </p:nvCxnSpPr>
        <p:spPr>
          <a:xfrm>
            <a:off x="8132063" y="1784927"/>
            <a:ext cx="4148329" cy="0"/>
          </a:xfrm>
          <a:prstGeom prst="line">
            <a:avLst/>
          </a:prstGeom>
          <a:ln w="254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D88AF363-7A35-104E-9A0A-BC860A4A42C8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26"/>
            <a:ext cx="7492481" cy="4577849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404117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00" b="1" i="0" baseline="0">
                <a:solidFill>
                  <a:schemeClr val="accent2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/>
              <a:t>Callouts are 20pt Arial Bold sentence case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c</a:t>
            </a:r>
            <a:r>
              <a:rPr lang="en-US" noProof="0"/>
              <a:t> </a:t>
            </a:r>
            <a:r>
              <a:rPr lang="en-US" noProof="0" err="1"/>
              <a:t>tetuer</a:t>
            </a:r>
            <a:r>
              <a:rPr lang="en-US" noProof="0"/>
              <a:t> </a:t>
            </a:r>
            <a:r>
              <a:rPr lang="en-US" noProof="0" err="1"/>
              <a:t>adipiscing</a:t>
            </a:r>
            <a:r>
              <a:rPr lang="en-US" noProof="0"/>
              <a:t> </a:t>
            </a:r>
            <a:r>
              <a:rPr lang="en-US" noProof="0" err="1"/>
              <a:t>elit</a:t>
            </a:r>
            <a:r>
              <a:rPr lang="en-US" noProof="0"/>
              <a:t>, </a:t>
            </a:r>
            <a:r>
              <a:rPr lang="en-US" noProof="0" err="1"/>
              <a:t>sed</a:t>
            </a:r>
            <a:r>
              <a:rPr lang="en-US" noProof="0"/>
              <a:t> </a:t>
            </a:r>
            <a:r>
              <a:rPr lang="en-US" noProof="0" err="1"/>
              <a:t>diam</a:t>
            </a:r>
            <a:r>
              <a:rPr lang="en-US" noProof="0"/>
              <a:t> </a:t>
            </a:r>
            <a:r>
              <a:rPr lang="en-US" noProof="0" err="1"/>
              <a:t>nonummy</a:t>
            </a:r>
            <a:r>
              <a:rPr lang="en-US" noProof="0"/>
              <a:t> </a:t>
            </a:r>
            <a:r>
              <a:rPr lang="en-US" noProof="0" err="1"/>
              <a:t>nibh</a:t>
            </a:r>
            <a:r>
              <a:rPr lang="en-US" noProof="0"/>
              <a:t> </a:t>
            </a:r>
            <a:r>
              <a:rPr lang="en-US" noProof="0" err="1"/>
              <a:t>euismod</a:t>
            </a:r>
            <a:r>
              <a:rPr lang="en-US" noProof="0"/>
              <a:t> </a:t>
            </a:r>
            <a:r>
              <a:rPr lang="en-US" noProof="0" err="1"/>
              <a:t>tinc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</a:t>
            </a:r>
            <a:r>
              <a:rPr lang="en-US" noProof="0" err="1"/>
              <a:t>laoreet</a:t>
            </a:r>
            <a:r>
              <a:rPr lang="en-US" noProof="0"/>
              <a:t> dolore magna </a:t>
            </a:r>
            <a:r>
              <a:rPr lang="en-US" noProof="0" err="1"/>
              <a:t>aliqu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 </a:t>
            </a:r>
            <a:r>
              <a:rPr lang="en-US" noProof="0" err="1"/>
              <a:t>volutpat</a:t>
            </a:r>
            <a:r>
              <a:rPr lang="en-US" noProof="0"/>
              <a:t>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60" name="Footer Placeholder 4">
            <a:extLst>
              <a:ext uri="{FF2B5EF4-FFF2-40B4-BE49-F238E27FC236}">
                <a16:creationId xmlns:a16="http://schemas.microsoft.com/office/drawing/2014/main" id="{02449CD6-629F-D647-95E7-AF3F9E15C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241A4459-0EB4-4688-8572-06BA95F5D702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4513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2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D88AF363-7A35-104E-9A0A-BC860A4A42C8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26"/>
            <a:ext cx="7492481" cy="457784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404112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00" b="1" i="0" baseline="0">
                <a:solidFill>
                  <a:schemeClr val="accent1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/>
              <a:t>Callouts are 20pt Arial Bold sentence case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c</a:t>
            </a:r>
            <a:r>
              <a:rPr lang="en-US" noProof="0"/>
              <a:t> </a:t>
            </a:r>
            <a:r>
              <a:rPr lang="en-US" noProof="0" err="1"/>
              <a:t>tetuer</a:t>
            </a:r>
            <a:r>
              <a:rPr lang="en-US" noProof="0"/>
              <a:t> </a:t>
            </a:r>
            <a:r>
              <a:rPr lang="en-US" noProof="0" err="1"/>
              <a:t>adipiscing</a:t>
            </a:r>
            <a:r>
              <a:rPr lang="en-US" noProof="0"/>
              <a:t> </a:t>
            </a:r>
            <a:r>
              <a:rPr lang="en-US" noProof="0" err="1"/>
              <a:t>elit</a:t>
            </a:r>
            <a:r>
              <a:rPr lang="en-US" noProof="0"/>
              <a:t>, </a:t>
            </a:r>
            <a:r>
              <a:rPr lang="en-US" noProof="0" err="1"/>
              <a:t>sed</a:t>
            </a:r>
            <a:r>
              <a:rPr lang="en-US" noProof="0"/>
              <a:t> </a:t>
            </a:r>
            <a:r>
              <a:rPr lang="en-US" noProof="0" err="1"/>
              <a:t>diam</a:t>
            </a:r>
            <a:r>
              <a:rPr lang="en-US" noProof="0"/>
              <a:t> </a:t>
            </a:r>
            <a:r>
              <a:rPr lang="en-US" noProof="0" err="1"/>
              <a:t>nonummy</a:t>
            </a:r>
            <a:r>
              <a:rPr lang="en-US" noProof="0"/>
              <a:t> </a:t>
            </a:r>
            <a:r>
              <a:rPr lang="en-US" noProof="0" err="1"/>
              <a:t>nibh</a:t>
            </a:r>
            <a:r>
              <a:rPr lang="en-US" noProof="0"/>
              <a:t> </a:t>
            </a:r>
            <a:r>
              <a:rPr lang="en-US" noProof="0" err="1"/>
              <a:t>euismod</a:t>
            </a:r>
            <a:r>
              <a:rPr lang="en-US" noProof="0"/>
              <a:t> </a:t>
            </a:r>
            <a:r>
              <a:rPr lang="en-US" noProof="0" err="1"/>
              <a:t>tinc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</a:t>
            </a:r>
            <a:r>
              <a:rPr lang="en-US" noProof="0" err="1"/>
              <a:t>laoreet</a:t>
            </a:r>
            <a:r>
              <a:rPr lang="en-US" noProof="0"/>
              <a:t> dolore magna </a:t>
            </a:r>
            <a:r>
              <a:rPr lang="en-US" noProof="0" err="1"/>
              <a:t>aliqu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 </a:t>
            </a:r>
            <a:r>
              <a:rPr lang="en-US" noProof="0" err="1"/>
              <a:t>volutpat</a:t>
            </a:r>
            <a:r>
              <a:rPr lang="en-US" noProof="0"/>
              <a:t>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60" name="Footer Placeholder 4">
            <a:extLst>
              <a:ext uri="{FF2B5EF4-FFF2-40B4-BE49-F238E27FC236}">
                <a16:creationId xmlns:a16="http://schemas.microsoft.com/office/drawing/2014/main" id="{02449CD6-629F-D647-95E7-AF3F9E15C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BB5C6CE-599B-D241-B11C-1899212B39F3}"/>
              </a:ext>
            </a:extLst>
          </p:cNvPr>
          <p:cNvCxnSpPr>
            <a:cxnSpLocks/>
          </p:cNvCxnSpPr>
          <p:nvPr/>
        </p:nvCxnSpPr>
        <p:spPr>
          <a:xfrm>
            <a:off x="8132063" y="1784927"/>
            <a:ext cx="4148329" cy="0"/>
          </a:xfrm>
          <a:prstGeom prst="line">
            <a:avLst/>
          </a:prstGeom>
          <a:ln w="254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5A70D40F-E06E-4AAC-8094-BC565B24D95E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F1328CB7-3B3E-0342-86D5-64775D744D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81787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191135" y="1702626"/>
            <a:ext cx="5532119" cy="458114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92D52BD9-DFA6-1D48-973A-A6C3C874E80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4694" y="1702626"/>
            <a:ext cx="5532119" cy="4577857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2" name="Slide Number Placeholder 5">
            <a:extLst>
              <a:ext uri="{FF2B5EF4-FFF2-40B4-BE49-F238E27FC236}">
                <a16:creationId xmlns:a16="http://schemas.microsoft.com/office/drawing/2014/main" id="{2DFA1798-9673-4022-816E-704E37E4DEA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420C18B-DFBF-C046-8D9E-FB3BB18EF16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85219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NoSubhead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191135" y="1286358"/>
            <a:ext cx="5532119" cy="49941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92D52BD9-DFA6-1D48-973A-A6C3C874E80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4694" y="1286358"/>
            <a:ext cx="5532119" cy="499412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AC061BF7-30ED-394B-918A-D1835A35BE5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792832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C2AC1106-6E0D-B341-B75A-C8C2F73E3F2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4694" y="1702626"/>
            <a:ext cx="3621024" cy="4577857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8" name="Content Placeholder 2">
            <a:extLst>
              <a:ext uri="{FF2B5EF4-FFF2-40B4-BE49-F238E27FC236}">
                <a16:creationId xmlns:a16="http://schemas.microsoft.com/office/drawing/2014/main" id="{ABC0DBC1-9787-6A4E-A4B1-E0E8BE5E8F02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102230" y="1702627"/>
            <a:ext cx="3621024" cy="457785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88B0BB6F-D4FA-D54D-A387-A1834DE59B82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243462" y="1702627"/>
            <a:ext cx="3621024" cy="457785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61" name="Footer Placeholder 4">
            <a:extLst>
              <a:ext uri="{FF2B5EF4-FFF2-40B4-BE49-F238E27FC236}">
                <a16:creationId xmlns:a16="http://schemas.microsoft.com/office/drawing/2014/main" id="{2B619D02-ECD0-CE4F-A007-98E4EF45BF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C02E0708-4D86-44F8-B4F9-1E6BEA5F151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DF16763F-C469-814B-B3F1-2A463EAEA8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06246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lIns="91440" tIns="45720" rIns="91440" bIns="45720"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B43D20F7-04AA-0E4D-91D5-5DB9ECAF95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5EA968B8-FA3A-4F62-92E8-E94086C1347B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D12220C1-1EAE-C14B-89F3-9751E5993BA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81821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_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5" name="Footer Placeholder 4">
            <a:extLst>
              <a:ext uri="{FF2B5EF4-FFF2-40B4-BE49-F238E27FC236}">
                <a16:creationId xmlns:a16="http://schemas.microsoft.com/office/drawing/2014/main" id="{76ED9213-76D9-7A47-BBC6-21289543AE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5" name="Slide Number Placeholder 5">
            <a:extLst>
              <a:ext uri="{FF2B5EF4-FFF2-40B4-BE49-F238E27FC236}">
                <a16:creationId xmlns:a16="http://schemas.microsoft.com/office/drawing/2014/main" id="{1E387831-BA5F-49F6-AA7A-A7D23D1B4F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BCBCE073-12D8-9D4F-9B15-2F9BE4AC35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936932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2024-02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098CCE30-6B5A-4DFB-97B5-AF5CCDE0C8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3608" y="4175059"/>
            <a:ext cx="6245751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70" name="Title 1">
            <a:extLst>
              <a:ext uri="{FF2B5EF4-FFF2-40B4-BE49-F238E27FC236}">
                <a16:creationId xmlns:a16="http://schemas.microsoft.com/office/drawing/2014/main" id="{184C4A24-4E36-49F8-AE34-FEFD57A981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45751" cy="2084832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71" name="Subtitle 2">
            <a:extLst>
              <a:ext uri="{FF2B5EF4-FFF2-40B4-BE49-F238E27FC236}">
                <a16:creationId xmlns:a16="http://schemas.microsoft.com/office/drawing/2014/main" id="{0E82B801-11C9-4FD7-9D6A-B8DAA212046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45751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B6E9086A-E529-2788-B0E4-EFA79D0E2F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A1F4E818-2A83-7489-FE1B-DC8FFF233719}"/>
              </a:ext>
            </a:extLst>
          </p:cNvPr>
          <p:cNvSpPr/>
          <p:nvPr userDrawn="1"/>
        </p:nvSpPr>
        <p:spPr>
          <a:xfrm rot="900000">
            <a:off x="7116823" y="-191976"/>
            <a:ext cx="1244450" cy="1815506"/>
          </a:xfrm>
          <a:custGeom>
            <a:avLst/>
            <a:gdLst>
              <a:gd name="connsiteX0" fmla="*/ 0 w 1244450"/>
              <a:gd name="connsiteY0" fmla="*/ 333449 h 1815506"/>
              <a:gd name="connsiteX1" fmla="*/ 1244450 w 1244450"/>
              <a:gd name="connsiteY1" fmla="*/ 0 h 1815506"/>
              <a:gd name="connsiteX2" fmla="*/ 1244450 w 1244450"/>
              <a:gd name="connsiteY2" fmla="*/ 1193281 h 1815506"/>
              <a:gd name="connsiteX3" fmla="*/ 622225 w 1244450"/>
              <a:gd name="connsiteY3" fmla="*/ 1815506 h 1815506"/>
              <a:gd name="connsiteX4" fmla="*/ 0 w 1244450"/>
              <a:gd name="connsiteY4" fmla="*/ 1193281 h 1815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44450" h="1815506">
                <a:moveTo>
                  <a:pt x="0" y="333449"/>
                </a:moveTo>
                <a:lnTo>
                  <a:pt x="1244450" y="0"/>
                </a:lnTo>
                <a:lnTo>
                  <a:pt x="1244450" y="1193281"/>
                </a:lnTo>
                <a:cubicBezTo>
                  <a:pt x="1244450" y="1536926"/>
                  <a:pt x="965870" y="1815506"/>
                  <a:pt x="622225" y="1815506"/>
                </a:cubicBezTo>
                <a:cubicBezTo>
                  <a:pt x="278580" y="1815506"/>
                  <a:pt x="0" y="1536926"/>
                  <a:pt x="0" y="1193281"/>
                </a:cubicBezTo>
                <a:close/>
              </a:path>
            </a:pathLst>
          </a:custGeom>
          <a:gradFill>
            <a:gsLst>
              <a:gs pos="20000">
                <a:srgbClr val="140B42"/>
              </a:gs>
              <a:gs pos="80000">
                <a:schemeClr val="accent2"/>
              </a:gs>
            </a:gsLst>
            <a:lin ang="5400000" scaled="1"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213A8D0-50D2-BE07-C33B-5280FE4232B0}"/>
              </a:ext>
            </a:extLst>
          </p:cNvPr>
          <p:cNvSpPr/>
          <p:nvPr userDrawn="1"/>
        </p:nvSpPr>
        <p:spPr>
          <a:xfrm rot="900000">
            <a:off x="11384415" y="4422162"/>
            <a:ext cx="1089824" cy="2621535"/>
          </a:xfrm>
          <a:custGeom>
            <a:avLst/>
            <a:gdLst>
              <a:gd name="connsiteX0" fmla="*/ 465632 w 1089824"/>
              <a:gd name="connsiteY0" fmla="*/ 0 h 2621535"/>
              <a:gd name="connsiteX1" fmla="*/ 1089824 w 1089824"/>
              <a:gd name="connsiteY1" fmla="*/ 2329517 h 2621535"/>
              <a:gd name="connsiteX2" fmla="*/ 0 w 1089824"/>
              <a:gd name="connsiteY2" fmla="*/ 2621535 h 2621535"/>
              <a:gd name="connsiteX3" fmla="*/ 0 w 1089824"/>
              <a:gd name="connsiteY3" fmla="*/ 596865 h 2621535"/>
              <a:gd name="connsiteX4" fmla="*/ 377494 w 1089824"/>
              <a:gd name="connsiteY4" fmla="*/ 27359 h 26215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9824" h="2621535">
                <a:moveTo>
                  <a:pt x="465632" y="0"/>
                </a:moveTo>
                <a:lnTo>
                  <a:pt x="1089824" y="2329517"/>
                </a:lnTo>
                <a:lnTo>
                  <a:pt x="0" y="2621535"/>
                </a:lnTo>
                <a:lnTo>
                  <a:pt x="0" y="596865"/>
                </a:lnTo>
                <a:cubicBezTo>
                  <a:pt x="0" y="340849"/>
                  <a:pt x="155656" y="121189"/>
                  <a:pt x="377494" y="27359"/>
                </a:cubicBezTo>
                <a:close/>
              </a:path>
            </a:pathLst>
          </a:custGeom>
          <a:gradFill flip="none" rotWithShape="1">
            <a:gsLst>
              <a:gs pos="20000">
                <a:schemeClr val="accent2"/>
              </a:gs>
              <a:gs pos="80000">
                <a:srgbClr val="140B42"/>
              </a:gs>
            </a:gsLst>
            <a:lin ang="5400000" scaled="1"/>
            <a:tileRect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9CA7F2F6-48FC-1B44-89F9-84682C0ED811}"/>
              </a:ext>
            </a:extLst>
          </p:cNvPr>
          <p:cNvSpPr/>
          <p:nvPr userDrawn="1"/>
        </p:nvSpPr>
        <p:spPr>
          <a:xfrm rot="900000">
            <a:off x="7841778" y="-500135"/>
            <a:ext cx="3914186" cy="7999940"/>
          </a:xfrm>
          <a:custGeom>
            <a:avLst/>
            <a:gdLst>
              <a:gd name="connsiteX0" fmla="*/ 3362855 w 3914186"/>
              <a:gd name="connsiteY0" fmla="*/ 0 h 7999940"/>
              <a:gd name="connsiteX1" fmla="*/ 3914186 w 3914186"/>
              <a:gd name="connsiteY1" fmla="*/ 2057597 h 7999940"/>
              <a:gd name="connsiteX2" fmla="*/ 3914185 w 3914186"/>
              <a:gd name="connsiteY2" fmla="*/ 6952194 h 7999940"/>
              <a:gd name="connsiteX3" fmla="*/ 3947 w 3914186"/>
              <a:gd name="connsiteY3" fmla="*/ 7999940 h 7999940"/>
              <a:gd name="connsiteX4" fmla="*/ 0 w 3914186"/>
              <a:gd name="connsiteY4" fmla="*/ 7921778 h 7999940"/>
              <a:gd name="connsiteX5" fmla="*/ 1 w 3914186"/>
              <a:gd name="connsiteY5" fmla="*/ 901074 h 7999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14186" h="7999940">
                <a:moveTo>
                  <a:pt x="3362855" y="0"/>
                </a:moveTo>
                <a:lnTo>
                  <a:pt x="3914186" y="2057597"/>
                </a:lnTo>
                <a:lnTo>
                  <a:pt x="3914185" y="6952194"/>
                </a:lnTo>
                <a:lnTo>
                  <a:pt x="3947" y="7999940"/>
                </a:lnTo>
                <a:lnTo>
                  <a:pt x="0" y="7921778"/>
                </a:lnTo>
                <a:lnTo>
                  <a:pt x="1" y="901074"/>
                </a:lnTo>
                <a:close/>
              </a:path>
            </a:pathLst>
          </a:custGeom>
          <a:solidFill>
            <a:schemeClr val="accent2"/>
          </a:soli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D950733-D386-D461-6995-42A6097FF11E}"/>
              </a:ext>
            </a:extLst>
          </p:cNvPr>
          <p:cNvSpPr txBox="1"/>
          <p:nvPr userDrawn="1"/>
        </p:nvSpPr>
        <p:spPr bwMode="black">
          <a:xfrm>
            <a:off x="613608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</p:spTree>
    <p:extLst>
      <p:ext uri="{BB962C8B-B14F-4D97-AF65-F5344CB8AC3E}">
        <p14:creationId xmlns:p14="http://schemas.microsoft.com/office/powerpoint/2010/main" val="22440194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 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EBE92459-5CCD-6042-9D0E-BAC9DA03F8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5C2CC54-E1EC-4DF9-A3B0-2009DB97279A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8B63251-79DB-3544-890F-9DDA614A5D8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63685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2DEFF783-1996-4984-99EE-7B1AC1AE1A3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31691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>
            <a:extLst>
              <a:ext uri="{FF2B5EF4-FFF2-40B4-BE49-F238E27FC236}">
                <a16:creationId xmlns:a16="http://schemas.microsoft.com/office/drawing/2014/main" id="{38658025-8660-B74C-8ED5-6D1A405A1A70}"/>
              </a:ext>
            </a:extLst>
          </p:cNvPr>
          <p:cNvSpPr/>
          <p:nvPr/>
        </p:nvSpPr>
        <p:spPr bwMode="gray">
          <a:xfrm>
            <a:off x="353568" y="0"/>
            <a:ext cx="11484864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/>
          </a:p>
        </p:txBody>
      </p:sp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FC9B35E8-F292-2B42-952E-06F2F248C6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962418" y="1561892"/>
            <a:ext cx="9163983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7" name="Title 3">
            <a:extLst>
              <a:ext uri="{FF2B5EF4-FFF2-40B4-BE49-F238E27FC236}">
                <a16:creationId xmlns:a16="http://schemas.microsoft.com/office/drawing/2014/main" id="{7A9E8FF8-48AE-4B47-8CBF-17FB49CF5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2418" y="823398"/>
            <a:ext cx="9163983" cy="59436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Table of contents or Agend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A1CD0AD-A634-4EA6-AE67-C63B52CE7B06}"/>
              </a:ext>
            </a:extLst>
          </p:cNvPr>
          <p:cNvGrpSpPr/>
          <p:nvPr/>
        </p:nvGrpSpPr>
        <p:grpSpPr>
          <a:xfrm>
            <a:off x="-1" y="260324"/>
            <a:ext cx="1250388" cy="1575820"/>
            <a:chOff x="-1" y="260324"/>
            <a:chExt cx="1250388" cy="1575820"/>
          </a:xfrm>
          <a:solidFill>
            <a:schemeClr val="accent1"/>
          </a:solidFill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B2E777F5-EFF3-457A-8259-AC8F3FAFC249}"/>
                </a:ext>
              </a:extLst>
            </p:cNvPr>
            <p:cNvGrpSpPr/>
            <p:nvPr/>
          </p:nvGrpSpPr>
          <p:grpSpPr>
            <a:xfrm>
              <a:off x="686264" y="1652391"/>
              <a:ext cx="564123" cy="183753"/>
              <a:chOff x="876236" y="5534957"/>
              <a:chExt cx="1674271" cy="545364"/>
            </a:xfrm>
            <a:grpFill/>
          </p:grpSpPr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B117E7E6-D510-412B-8045-21F2179CDBFD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79A544B5-B37E-40F9-A3D1-E4A00DF6E89F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EF1038BB-A4E9-41A9-B2F4-23E7F5CD6621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029BE464-4CCF-4D58-8077-7337778D29CA}"/>
                </a:ext>
              </a:extLst>
            </p:cNvPr>
            <p:cNvGrpSpPr/>
            <p:nvPr/>
          </p:nvGrpSpPr>
          <p:grpSpPr>
            <a:xfrm>
              <a:off x="864211" y="1304375"/>
              <a:ext cx="386176" cy="183753"/>
              <a:chOff x="1404367" y="4502072"/>
              <a:chExt cx="1146140" cy="545364"/>
            </a:xfrm>
            <a:grpFill/>
          </p:grpSpPr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D0DC8CC7-4C81-439E-B602-330616AC3184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ECB59EFB-5B99-4637-9821-186308CA811D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7060CC02-8F6C-45AF-9DBE-33B4EAA77FAE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EDBE8CF3-142D-438A-880B-7423D1E442C5}"/>
                </a:ext>
              </a:extLst>
            </p:cNvPr>
            <p:cNvGrpSpPr/>
            <p:nvPr/>
          </p:nvGrpSpPr>
          <p:grpSpPr>
            <a:xfrm>
              <a:off x="917753" y="956358"/>
              <a:ext cx="332634" cy="183753"/>
              <a:chOff x="1560101" y="3469185"/>
              <a:chExt cx="987231" cy="545364"/>
            </a:xfrm>
            <a:grpFill/>
          </p:grpSpPr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61D9E7AA-5FDE-45C3-B7AC-F8C06B142069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13502E5E-1590-4501-977E-A406C72F35D0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9849375F-4430-4BAF-8CD8-BABE2895B0CD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7C368109-07EC-4B00-B53E-7AA055EEDBEE}"/>
                </a:ext>
              </a:extLst>
            </p:cNvPr>
            <p:cNvGrpSpPr/>
            <p:nvPr/>
          </p:nvGrpSpPr>
          <p:grpSpPr>
            <a:xfrm>
              <a:off x="868078" y="608341"/>
              <a:ext cx="382309" cy="183753"/>
              <a:chOff x="1415887" y="2436300"/>
              <a:chExt cx="1134663" cy="545364"/>
            </a:xfrm>
            <a:grpFill/>
          </p:grpSpPr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458E032A-AC8B-4235-848E-250F4190B814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6E7F926D-F5AA-4D9E-9C81-33784AC45D52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C1912F97-C2EB-4275-9791-4E9C64D9ACD9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C16323A1-198A-411C-8014-263092240122}"/>
                </a:ext>
              </a:extLst>
            </p:cNvPr>
            <p:cNvGrpSpPr/>
            <p:nvPr/>
          </p:nvGrpSpPr>
          <p:grpSpPr>
            <a:xfrm>
              <a:off x="693506" y="260324"/>
              <a:ext cx="556881" cy="183753"/>
              <a:chOff x="898206" y="1403413"/>
              <a:chExt cx="1652778" cy="545364"/>
            </a:xfrm>
            <a:grpFill/>
          </p:grpSpPr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EBCE0676-4E25-4F10-A07B-A47F92C7CF81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54E9DB86-0937-4D11-B319-669FF994439C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3D6AB82A-C88A-4E42-B5CF-C687B3371284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754DFB64-FFE8-4762-8BD2-6D5B67A56394}"/>
                </a:ext>
              </a:extLst>
            </p:cNvPr>
            <p:cNvSpPr/>
            <p:nvPr/>
          </p:nvSpPr>
          <p:spPr>
            <a:xfrm>
              <a:off x="0" y="260324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82D6BF1B-7B4E-4715-B3AA-0137D5565B61}"/>
                </a:ext>
              </a:extLst>
            </p:cNvPr>
            <p:cNvSpPr/>
            <p:nvPr/>
          </p:nvSpPr>
          <p:spPr>
            <a:xfrm>
              <a:off x="-1" y="608341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DFFECD78-AD3E-430A-825C-361F3F0A6DF1}"/>
                </a:ext>
              </a:extLst>
            </p:cNvPr>
            <p:cNvSpPr/>
            <p:nvPr/>
          </p:nvSpPr>
          <p:spPr>
            <a:xfrm>
              <a:off x="0" y="952508"/>
              <a:ext cx="786403" cy="183006"/>
            </a:xfrm>
            <a:custGeom>
              <a:avLst/>
              <a:gdLst>
                <a:gd name="connsiteX0" fmla="*/ 0 w 786403"/>
                <a:gd name="connsiteY0" fmla="*/ 0 h 183006"/>
                <a:gd name="connsiteX1" fmla="*/ 692936 w 786403"/>
                <a:gd name="connsiteY1" fmla="*/ 0 h 183006"/>
                <a:gd name="connsiteX2" fmla="*/ 692936 w 786403"/>
                <a:gd name="connsiteY2" fmla="*/ 397 h 183006"/>
                <a:gd name="connsiteX3" fmla="*/ 694900 w 786403"/>
                <a:gd name="connsiteY3" fmla="*/ 0 h 183006"/>
                <a:gd name="connsiteX4" fmla="*/ 786403 w 786403"/>
                <a:gd name="connsiteY4" fmla="*/ 91503 h 183006"/>
                <a:gd name="connsiteX5" fmla="*/ 694900 w 786403"/>
                <a:gd name="connsiteY5" fmla="*/ 183006 h 183006"/>
                <a:gd name="connsiteX6" fmla="*/ 692936 w 786403"/>
                <a:gd name="connsiteY6" fmla="*/ 182610 h 183006"/>
                <a:gd name="connsiteX7" fmla="*/ 692936 w 786403"/>
                <a:gd name="connsiteY7" fmla="*/ 183006 h 183006"/>
                <a:gd name="connsiteX8" fmla="*/ 0 w 786403"/>
                <a:gd name="connsiteY8" fmla="*/ 183006 h 183006"/>
                <a:gd name="connsiteX9" fmla="*/ 0 w 786403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403" h="183006">
                  <a:moveTo>
                    <a:pt x="0" y="0"/>
                  </a:moveTo>
                  <a:lnTo>
                    <a:pt x="692936" y="0"/>
                  </a:lnTo>
                  <a:lnTo>
                    <a:pt x="692936" y="397"/>
                  </a:lnTo>
                  <a:lnTo>
                    <a:pt x="694900" y="0"/>
                  </a:lnTo>
                  <a:cubicBezTo>
                    <a:pt x="745436" y="0"/>
                    <a:pt x="786403" y="40967"/>
                    <a:pt x="786403" y="91503"/>
                  </a:cubicBezTo>
                  <a:cubicBezTo>
                    <a:pt x="786403" y="142039"/>
                    <a:pt x="745436" y="183006"/>
                    <a:pt x="694900" y="183006"/>
                  </a:cubicBezTo>
                  <a:lnTo>
                    <a:pt x="692936" y="182610"/>
                  </a:lnTo>
                  <a:lnTo>
                    <a:pt x="69293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01864E2F-2224-4B8D-A54C-010E70A5006D}"/>
                </a:ext>
              </a:extLst>
            </p:cNvPr>
            <p:cNvSpPr/>
            <p:nvPr/>
          </p:nvSpPr>
          <p:spPr>
            <a:xfrm>
              <a:off x="-1" y="1304902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8652EA3D-B91A-4960-BC33-8380D943F8F9}"/>
                </a:ext>
              </a:extLst>
            </p:cNvPr>
            <p:cNvSpPr/>
            <p:nvPr/>
          </p:nvSpPr>
          <p:spPr>
            <a:xfrm>
              <a:off x="0" y="1649603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sp>
        <p:nvSpPr>
          <p:cNvPr id="56" name="Slide Number Placeholder 5">
            <a:extLst>
              <a:ext uri="{FF2B5EF4-FFF2-40B4-BE49-F238E27FC236}">
                <a16:creationId xmlns:a16="http://schemas.microsoft.com/office/drawing/2014/main" id="{030699F5-6B57-4BC7-B774-B8F85B9621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18FC357D-3DB1-1B43-8FB6-6F70286F74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6844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_Two Column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>
            <a:extLst>
              <a:ext uri="{FF2B5EF4-FFF2-40B4-BE49-F238E27FC236}">
                <a16:creationId xmlns:a16="http://schemas.microsoft.com/office/drawing/2014/main" id="{38658025-8660-B74C-8ED5-6D1A405A1A70}"/>
              </a:ext>
            </a:extLst>
          </p:cNvPr>
          <p:cNvSpPr/>
          <p:nvPr/>
        </p:nvSpPr>
        <p:spPr bwMode="gray">
          <a:xfrm>
            <a:off x="353568" y="0"/>
            <a:ext cx="11484864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/>
          </a:p>
        </p:txBody>
      </p:sp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FC9B35E8-F292-2B42-952E-06F2F248C6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962418" y="1561892"/>
            <a:ext cx="4442783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7" name="Title 3">
            <a:extLst>
              <a:ext uri="{FF2B5EF4-FFF2-40B4-BE49-F238E27FC236}">
                <a16:creationId xmlns:a16="http://schemas.microsoft.com/office/drawing/2014/main" id="{7A9E8FF8-48AE-4B47-8CBF-17FB49CF5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2418" y="823398"/>
            <a:ext cx="9163983" cy="59436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Table of contents or Agend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A1CD0AD-A634-4EA6-AE67-C63B52CE7B06}"/>
              </a:ext>
            </a:extLst>
          </p:cNvPr>
          <p:cNvGrpSpPr/>
          <p:nvPr/>
        </p:nvGrpSpPr>
        <p:grpSpPr>
          <a:xfrm>
            <a:off x="-1" y="260324"/>
            <a:ext cx="1250388" cy="1575820"/>
            <a:chOff x="-1" y="260324"/>
            <a:chExt cx="1250388" cy="1575820"/>
          </a:xfrm>
          <a:solidFill>
            <a:schemeClr val="accent1"/>
          </a:solidFill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B2E777F5-EFF3-457A-8259-AC8F3FAFC249}"/>
                </a:ext>
              </a:extLst>
            </p:cNvPr>
            <p:cNvGrpSpPr/>
            <p:nvPr/>
          </p:nvGrpSpPr>
          <p:grpSpPr>
            <a:xfrm>
              <a:off x="686264" y="1652391"/>
              <a:ext cx="564123" cy="183753"/>
              <a:chOff x="876236" y="5534957"/>
              <a:chExt cx="1674271" cy="545364"/>
            </a:xfrm>
            <a:grpFill/>
          </p:grpSpPr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B117E7E6-D510-412B-8045-21F2179CDBFD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79A544B5-B37E-40F9-A3D1-E4A00DF6E89F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EF1038BB-A4E9-41A9-B2F4-23E7F5CD6621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029BE464-4CCF-4D58-8077-7337778D29CA}"/>
                </a:ext>
              </a:extLst>
            </p:cNvPr>
            <p:cNvGrpSpPr/>
            <p:nvPr/>
          </p:nvGrpSpPr>
          <p:grpSpPr>
            <a:xfrm>
              <a:off x="864211" y="1304375"/>
              <a:ext cx="386176" cy="183753"/>
              <a:chOff x="1404367" y="4502072"/>
              <a:chExt cx="1146140" cy="545364"/>
            </a:xfrm>
            <a:grpFill/>
          </p:grpSpPr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D0DC8CC7-4C81-439E-B602-330616AC3184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ECB59EFB-5B99-4637-9821-186308CA811D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7060CC02-8F6C-45AF-9DBE-33B4EAA77FAE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EDBE8CF3-142D-438A-880B-7423D1E442C5}"/>
                </a:ext>
              </a:extLst>
            </p:cNvPr>
            <p:cNvGrpSpPr/>
            <p:nvPr/>
          </p:nvGrpSpPr>
          <p:grpSpPr>
            <a:xfrm>
              <a:off x="917753" y="956358"/>
              <a:ext cx="332634" cy="183753"/>
              <a:chOff x="1560101" y="3469185"/>
              <a:chExt cx="987231" cy="545364"/>
            </a:xfrm>
            <a:grpFill/>
          </p:grpSpPr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61D9E7AA-5FDE-45C3-B7AC-F8C06B142069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13502E5E-1590-4501-977E-A406C72F35D0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9849375F-4430-4BAF-8CD8-BABE2895B0CD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7C368109-07EC-4B00-B53E-7AA055EEDBEE}"/>
                </a:ext>
              </a:extLst>
            </p:cNvPr>
            <p:cNvGrpSpPr/>
            <p:nvPr/>
          </p:nvGrpSpPr>
          <p:grpSpPr>
            <a:xfrm>
              <a:off x="868078" y="608341"/>
              <a:ext cx="382309" cy="183753"/>
              <a:chOff x="1415887" y="2436300"/>
              <a:chExt cx="1134663" cy="545364"/>
            </a:xfrm>
            <a:grpFill/>
          </p:grpSpPr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458E032A-AC8B-4235-848E-250F4190B814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6E7F926D-F5AA-4D9E-9C81-33784AC45D52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C1912F97-C2EB-4275-9791-4E9C64D9ACD9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C16323A1-198A-411C-8014-263092240122}"/>
                </a:ext>
              </a:extLst>
            </p:cNvPr>
            <p:cNvGrpSpPr/>
            <p:nvPr/>
          </p:nvGrpSpPr>
          <p:grpSpPr>
            <a:xfrm>
              <a:off x="693506" y="260324"/>
              <a:ext cx="556881" cy="183753"/>
              <a:chOff x="898206" y="1403413"/>
              <a:chExt cx="1652778" cy="545364"/>
            </a:xfrm>
            <a:grpFill/>
          </p:grpSpPr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EBCE0676-4E25-4F10-A07B-A47F92C7CF81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54E9DB86-0937-4D11-B319-669FF994439C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3D6AB82A-C88A-4E42-B5CF-C687B3371284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754DFB64-FFE8-4762-8BD2-6D5B67A56394}"/>
                </a:ext>
              </a:extLst>
            </p:cNvPr>
            <p:cNvSpPr/>
            <p:nvPr/>
          </p:nvSpPr>
          <p:spPr>
            <a:xfrm>
              <a:off x="0" y="260324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82D6BF1B-7B4E-4715-B3AA-0137D5565B61}"/>
                </a:ext>
              </a:extLst>
            </p:cNvPr>
            <p:cNvSpPr/>
            <p:nvPr/>
          </p:nvSpPr>
          <p:spPr>
            <a:xfrm>
              <a:off x="-1" y="608341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DFFECD78-AD3E-430A-825C-361F3F0A6DF1}"/>
                </a:ext>
              </a:extLst>
            </p:cNvPr>
            <p:cNvSpPr/>
            <p:nvPr/>
          </p:nvSpPr>
          <p:spPr>
            <a:xfrm>
              <a:off x="0" y="952508"/>
              <a:ext cx="786403" cy="183006"/>
            </a:xfrm>
            <a:custGeom>
              <a:avLst/>
              <a:gdLst>
                <a:gd name="connsiteX0" fmla="*/ 0 w 786403"/>
                <a:gd name="connsiteY0" fmla="*/ 0 h 183006"/>
                <a:gd name="connsiteX1" fmla="*/ 692936 w 786403"/>
                <a:gd name="connsiteY1" fmla="*/ 0 h 183006"/>
                <a:gd name="connsiteX2" fmla="*/ 692936 w 786403"/>
                <a:gd name="connsiteY2" fmla="*/ 397 h 183006"/>
                <a:gd name="connsiteX3" fmla="*/ 694900 w 786403"/>
                <a:gd name="connsiteY3" fmla="*/ 0 h 183006"/>
                <a:gd name="connsiteX4" fmla="*/ 786403 w 786403"/>
                <a:gd name="connsiteY4" fmla="*/ 91503 h 183006"/>
                <a:gd name="connsiteX5" fmla="*/ 694900 w 786403"/>
                <a:gd name="connsiteY5" fmla="*/ 183006 h 183006"/>
                <a:gd name="connsiteX6" fmla="*/ 692936 w 786403"/>
                <a:gd name="connsiteY6" fmla="*/ 182610 h 183006"/>
                <a:gd name="connsiteX7" fmla="*/ 692936 w 786403"/>
                <a:gd name="connsiteY7" fmla="*/ 183006 h 183006"/>
                <a:gd name="connsiteX8" fmla="*/ 0 w 786403"/>
                <a:gd name="connsiteY8" fmla="*/ 183006 h 183006"/>
                <a:gd name="connsiteX9" fmla="*/ 0 w 786403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403" h="183006">
                  <a:moveTo>
                    <a:pt x="0" y="0"/>
                  </a:moveTo>
                  <a:lnTo>
                    <a:pt x="692936" y="0"/>
                  </a:lnTo>
                  <a:lnTo>
                    <a:pt x="692936" y="397"/>
                  </a:lnTo>
                  <a:lnTo>
                    <a:pt x="694900" y="0"/>
                  </a:lnTo>
                  <a:cubicBezTo>
                    <a:pt x="745436" y="0"/>
                    <a:pt x="786403" y="40967"/>
                    <a:pt x="786403" y="91503"/>
                  </a:cubicBezTo>
                  <a:cubicBezTo>
                    <a:pt x="786403" y="142039"/>
                    <a:pt x="745436" y="183006"/>
                    <a:pt x="694900" y="183006"/>
                  </a:cubicBezTo>
                  <a:lnTo>
                    <a:pt x="692936" y="182610"/>
                  </a:lnTo>
                  <a:lnTo>
                    <a:pt x="69293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01864E2F-2224-4B8D-A54C-010E70A5006D}"/>
                </a:ext>
              </a:extLst>
            </p:cNvPr>
            <p:cNvSpPr/>
            <p:nvPr/>
          </p:nvSpPr>
          <p:spPr>
            <a:xfrm>
              <a:off x="-1" y="1304902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8652EA3D-B91A-4960-BC33-8380D943F8F9}"/>
                </a:ext>
              </a:extLst>
            </p:cNvPr>
            <p:cNvSpPr/>
            <p:nvPr/>
          </p:nvSpPr>
          <p:spPr>
            <a:xfrm>
              <a:off x="0" y="1649603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sp>
        <p:nvSpPr>
          <p:cNvPr id="56" name="Slide Number Placeholder 5">
            <a:extLst>
              <a:ext uri="{FF2B5EF4-FFF2-40B4-BE49-F238E27FC236}">
                <a16:creationId xmlns:a16="http://schemas.microsoft.com/office/drawing/2014/main" id="{030699F5-6B57-4BC7-B774-B8F85B9621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A38DDCEC-B402-6B40-82F9-F72F5C447EC7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679523" y="1561892"/>
            <a:ext cx="4446878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9C8C25AB-04B1-1747-A689-D16DAAB4CD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733203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hoto Lef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07A7498E-6C5A-334A-934D-1310A399752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108192" cy="6858000"/>
          </a:xfrm>
          <a:prstGeom prst="rect">
            <a:avLst/>
          </a:prstGeom>
          <a:blipFill>
            <a:blip r:embed="rId2"/>
            <a:stretch>
              <a:fillRect l="1"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503691" y="2079330"/>
            <a:ext cx="5219563" cy="42011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485711" y="1079592"/>
            <a:ext cx="5237542" cy="768263"/>
          </a:xfrm>
          <a:prstGeom prst="rect">
            <a:avLst/>
          </a:prstGeom>
        </p:spPr>
        <p:txBody>
          <a:bodyPr anchor="b" anchorCtr="0"/>
          <a:lstStyle>
            <a:lvl1pPr>
              <a:defRPr sz="20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0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85710" y="6387858"/>
            <a:ext cx="3184467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0A3F7CAF-2DCF-AE44-8B02-C3A9F59943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TE: All photos used in this layout must be cropped to 6.68” wide X 7.5” tall at 150dpi resolution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B9E4976-132F-F449-8124-B504F37C987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73862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hoto Righ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08ABCCBF-3981-0241-8287-3903E624904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83808" y="0"/>
            <a:ext cx="6108192" cy="6858000"/>
          </a:xfrm>
          <a:prstGeom prst="rect">
            <a:avLst/>
          </a:prstGeom>
          <a:blipFill>
            <a:blip r:embed="rId2"/>
            <a:stretch>
              <a:fillRect l="1"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>
              <a:solidFill>
                <a:schemeClr val="bg1"/>
              </a:solidFill>
            </a:endParaRP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0A3F7CAF-2DCF-AE44-8B02-C3A9F59943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TE: All photos used in this layout must be cropped to 6.68” wide X 7.5” tall at 150dpi resolution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DB8F1DF2-27A3-8249-8796-6A002E0D8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694" y="1079592"/>
            <a:ext cx="5237543" cy="768263"/>
          </a:xfrm>
          <a:prstGeom prst="rect">
            <a:avLst/>
          </a:prstGeom>
        </p:spPr>
        <p:txBody>
          <a:bodyPr anchor="b" anchorCtr="0"/>
          <a:lstStyle>
            <a:lvl1pPr>
              <a:defRPr sz="20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0pt Arial Bold sentence case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9DD56D8B-7A45-7247-92A2-DECA0DA4B2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5237543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4B5D617-8638-9248-B078-99CA6D58FCAF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2674" y="2079330"/>
            <a:ext cx="5219563" cy="42011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</p:spTree>
    <p:extLst>
      <p:ext uri="{BB962C8B-B14F-4D97-AF65-F5344CB8AC3E}">
        <p14:creationId xmlns:p14="http://schemas.microsoft.com/office/powerpoint/2010/main" val="21968080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Photo Left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1EBA7B86-AF66-5642-80C5-A8A4D9FEB9C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3B40F6B-0093-4E4E-93B6-688B272C10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44112" y="0"/>
            <a:ext cx="4114799" cy="29718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txBody>
          <a:bodyPr lIns="274320"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Photo dividers with text on left 36pt Arial Bold sentence cas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D62E9D9-E5C1-F84F-9915-F25709579CD2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>
              <a:solidFill>
                <a:schemeClr val="bg1"/>
              </a:solidFill>
            </a:endParaRPr>
          </a:p>
        </p:txBody>
      </p:sp>
      <p:sp>
        <p:nvSpPr>
          <p:cNvPr id="6" name="Text Placeholder 21">
            <a:extLst>
              <a:ext uri="{FF2B5EF4-FFF2-40B4-BE49-F238E27FC236}">
                <a16:creationId xmlns:a16="http://schemas.microsoft.com/office/drawing/2014/main" id="{72E2FA7F-1AB5-4252-BF66-00A17FC6F0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TE: All photos used in this layout must be cropped to 13.33” wide X 7.5” tall at 150dpi resolution</a:t>
            </a:r>
          </a:p>
        </p:txBody>
      </p:sp>
    </p:spTree>
    <p:extLst>
      <p:ext uri="{BB962C8B-B14F-4D97-AF65-F5344CB8AC3E}">
        <p14:creationId xmlns:p14="http://schemas.microsoft.com/office/powerpoint/2010/main" val="16480396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Photo Righ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8C96C06-AFDA-BB43-A8AD-9713C5A7978C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EE2810-5A25-4006-AC1A-C7724FC47010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>
              <a:solidFill>
                <a:schemeClr val="bg1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E374672-D2D3-4DCE-8649-950F3EAEDB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7033089" y="0"/>
            <a:ext cx="4114799" cy="2971800"/>
          </a:xfrm>
          <a:prstGeom prst="rect">
            <a:avLst/>
          </a:prstGeom>
          <a:solidFill>
            <a:srgbClr val="F4F4F4"/>
          </a:solidFill>
        </p:spPr>
        <p:txBody>
          <a:bodyPr lIns="274320"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Photo dividers with text on right 36pt Arial Bold sentence case</a:t>
            </a:r>
          </a:p>
        </p:txBody>
      </p:sp>
      <p:sp>
        <p:nvSpPr>
          <p:cNvPr id="7" name="Text Placeholder 21">
            <a:extLst>
              <a:ext uri="{FF2B5EF4-FFF2-40B4-BE49-F238E27FC236}">
                <a16:creationId xmlns:a16="http://schemas.microsoft.com/office/drawing/2014/main" id="{24BBE5E7-5805-45C0-A8D8-6F96062DEC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TE: All photos used in this layout must be cropped to 13.33” wide X 7.5” tall at 150dpi resolution</a:t>
            </a:r>
          </a:p>
        </p:txBody>
      </p:sp>
    </p:spTree>
    <p:extLst>
      <p:ext uri="{BB962C8B-B14F-4D97-AF65-F5344CB8AC3E}">
        <p14:creationId xmlns:p14="http://schemas.microsoft.com/office/powerpoint/2010/main" val="20885561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: Top Corners Rounded 4">
            <a:extLst>
              <a:ext uri="{FF2B5EF4-FFF2-40B4-BE49-F238E27FC236}">
                <a16:creationId xmlns:a16="http://schemas.microsoft.com/office/drawing/2014/main" id="{C7CB88CE-AFAB-3162-5EFA-DACFAECFC82B}"/>
              </a:ext>
            </a:extLst>
          </p:cNvPr>
          <p:cNvSpPr/>
          <p:nvPr userDrawn="1"/>
        </p:nvSpPr>
        <p:spPr>
          <a:xfrm rot="5400000" flipH="1">
            <a:off x="1141342" y="704015"/>
            <a:ext cx="877958" cy="316064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78BBCD43-EEDD-17C3-B8E4-320E6ECA340F}"/>
              </a:ext>
            </a:extLst>
          </p:cNvPr>
          <p:cNvSpPr/>
          <p:nvPr userDrawn="1"/>
        </p:nvSpPr>
        <p:spPr>
          <a:xfrm rot="5400000" flipH="1">
            <a:off x="572602" y="4899986"/>
            <a:ext cx="877958" cy="202316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3" name="Rectangle: Top Corners Rounded 2">
            <a:extLst>
              <a:ext uri="{FF2B5EF4-FFF2-40B4-BE49-F238E27FC236}">
                <a16:creationId xmlns:a16="http://schemas.microsoft.com/office/drawing/2014/main" id="{AC34CDE1-031B-F659-37E6-092E1C8890F5}"/>
              </a:ext>
            </a:extLst>
          </p:cNvPr>
          <p:cNvSpPr/>
          <p:nvPr userDrawn="1"/>
        </p:nvSpPr>
        <p:spPr>
          <a:xfrm rot="5400000" flipH="1">
            <a:off x="766970" y="1545530"/>
            <a:ext cx="3591342" cy="512527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F0223E2A-EF00-0A08-DA2A-FCB4BDA5AE23}"/>
              </a:ext>
            </a:extLst>
          </p:cNvPr>
          <p:cNvSpPr/>
          <p:nvPr userDrawn="1"/>
        </p:nvSpPr>
        <p:spPr>
          <a:xfrm rot="5400000" flipH="1">
            <a:off x="2255792" y="2934275"/>
            <a:ext cx="877958" cy="5389536"/>
          </a:xfrm>
          <a:custGeom>
            <a:avLst/>
            <a:gdLst>
              <a:gd name="connsiteX0" fmla="*/ 438979 w 877958"/>
              <a:gd name="connsiteY0" fmla="*/ 0 h 5389536"/>
              <a:gd name="connsiteX1" fmla="*/ 438979 w 877958"/>
              <a:gd name="connsiteY1" fmla="*/ 0 h 5389536"/>
              <a:gd name="connsiteX2" fmla="*/ 877958 w 877958"/>
              <a:gd name="connsiteY2" fmla="*/ 438979 h 5389536"/>
              <a:gd name="connsiteX3" fmla="*/ 877958 w 877958"/>
              <a:gd name="connsiteY3" fmla="*/ 5389536 h 5389536"/>
              <a:gd name="connsiteX4" fmla="*/ 877958 w 877958"/>
              <a:gd name="connsiteY4" fmla="*/ 5389536 h 5389536"/>
              <a:gd name="connsiteX5" fmla="*/ 0 w 877958"/>
              <a:gd name="connsiteY5" fmla="*/ 5389536 h 5389536"/>
              <a:gd name="connsiteX6" fmla="*/ 0 w 877958"/>
              <a:gd name="connsiteY6" fmla="*/ 5389536 h 5389536"/>
              <a:gd name="connsiteX7" fmla="*/ 0 w 877958"/>
              <a:gd name="connsiteY7" fmla="*/ 438979 h 5389536"/>
              <a:gd name="connsiteX8" fmla="*/ 438979 w 877958"/>
              <a:gd name="connsiteY8" fmla="*/ 0 h 5389536"/>
              <a:gd name="connsiteX0" fmla="*/ 0 w 877958"/>
              <a:gd name="connsiteY0" fmla="*/ 5389536 h 5480976"/>
              <a:gd name="connsiteX1" fmla="*/ 0 w 877958"/>
              <a:gd name="connsiteY1" fmla="*/ 438979 h 5480976"/>
              <a:gd name="connsiteX2" fmla="*/ 438979 w 877958"/>
              <a:gd name="connsiteY2" fmla="*/ 0 h 5480976"/>
              <a:gd name="connsiteX3" fmla="*/ 438979 w 877958"/>
              <a:gd name="connsiteY3" fmla="*/ 0 h 5480976"/>
              <a:gd name="connsiteX4" fmla="*/ 877958 w 877958"/>
              <a:gd name="connsiteY4" fmla="*/ 438979 h 5480976"/>
              <a:gd name="connsiteX5" fmla="*/ 877958 w 877958"/>
              <a:gd name="connsiteY5" fmla="*/ 5389536 h 5480976"/>
              <a:gd name="connsiteX6" fmla="*/ 877958 w 877958"/>
              <a:gd name="connsiteY6" fmla="*/ 5389536 h 5480976"/>
              <a:gd name="connsiteX7" fmla="*/ 0 w 877958"/>
              <a:gd name="connsiteY7" fmla="*/ 5389536 h 5480976"/>
              <a:gd name="connsiteX8" fmla="*/ 91440 w 877958"/>
              <a:gd name="connsiteY8" fmla="*/ 5480976 h 5480976"/>
              <a:gd name="connsiteX0" fmla="*/ 0 w 877958"/>
              <a:gd name="connsiteY0" fmla="*/ 5389536 h 5389536"/>
              <a:gd name="connsiteX1" fmla="*/ 0 w 877958"/>
              <a:gd name="connsiteY1" fmla="*/ 438979 h 5389536"/>
              <a:gd name="connsiteX2" fmla="*/ 438979 w 877958"/>
              <a:gd name="connsiteY2" fmla="*/ 0 h 5389536"/>
              <a:gd name="connsiteX3" fmla="*/ 438979 w 877958"/>
              <a:gd name="connsiteY3" fmla="*/ 0 h 5389536"/>
              <a:gd name="connsiteX4" fmla="*/ 877958 w 877958"/>
              <a:gd name="connsiteY4" fmla="*/ 438979 h 5389536"/>
              <a:gd name="connsiteX5" fmla="*/ 877958 w 877958"/>
              <a:gd name="connsiteY5" fmla="*/ 5389536 h 5389536"/>
              <a:gd name="connsiteX6" fmla="*/ 877958 w 877958"/>
              <a:gd name="connsiteY6" fmla="*/ 5389536 h 5389536"/>
              <a:gd name="connsiteX7" fmla="*/ 0 w 877958"/>
              <a:gd name="connsiteY7" fmla="*/ 5389536 h 5389536"/>
              <a:gd name="connsiteX0" fmla="*/ 0 w 877958"/>
              <a:gd name="connsiteY0" fmla="*/ 5389536 h 5442453"/>
              <a:gd name="connsiteX1" fmla="*/ 0 w 877958"/>
              <a:gd name="connsiteY1" fmla="*/ 438979 h 5442453"/>
              <a:gd name="connsiteX2" fmla="*/ 438979 w 877958"/>
              <a:gd name="connsiteY2" fmla="*/ 0 h 5442453"/>
              <a:gd name="connsiteX3" fmla="*/ 438979 w 877958"/>
              <a:gd name="connsiteY3" fmla="*/ 0 h 5442453"/>
              <a:gd name="connsiteX4" fmla="*/ 877958 w 877958"/>
              <a:gd name="connsiteY4" fmla="*/ 438979 h 5442453"/>
              <a:gd name="connsiteX5" fmla="*/ 877958 w 877958"/>
              <a:gd name="connsiteY5" fmla="*/ 5389536 h 5442453"/>
              <a:gd name="connsiteX6" fmla="*/ 877958 w 877958"/>
              <a:gd name="connsiteY6" fmla="*/ 5389536 h 5442453"/>
              <a:gd name="connsiteX7" fmla="*/ 14816 w 877958"/>
              <a:gd name="connsiteY7" fmla="*/ 5442453 h 5442453"/>
              <a:gd name="connsiteX0" fmla="*/ 0 w 877958"/>
              <a:gd name="connsiteY0" fmla="*/ 5389536 h 5389536"/>
              <a:gd name="connsiteX1" fmla="*/ 0 w 877958"/>
              <a:gd name="connsiteY1" fmla="*/ 438979 h 5389536"/>
              <a:gd name="connsiteX2" fmla="*/ 438979 w 877958"/>
              <a:gd name="connsiteY2" fmla="*/ 0 h 5389536"/>
              <a:gd name="connsiteX3" fmla="*/ 438979 w 877958"/>
              <a:gd name="connsiteY3" fmla="*/ 0 h 5389536"/>
              <a:gd name="connsiteX4" fmla="*/ 877958 w 877958"/>
              <a:gd name="connsiteY4" fmla="*/ 438979 h 5389536"/>
              <a:gd name="connsiteX5" fmla="*/ 877958 w 877958"/>
              <a:gd name="connsiteY5" fmla="*/ 5389536 h 5389536"/>
              <a:gd name="connsiteX6" fmla="*/ 877958 w 877958"/>
              <a:gd name="connsiteY6" fmla="*/ 5389536 h 5389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7958" h="5389536">
                <a:moveTo>
                  <a:pt x="0" y="5389536"/>
                </a:moveTo>
                <a:lnTo>
                  <a:pt x="0" y="438979"/>
                </a:lnTo>
                <a:cubicBezTo>
                  <a:pt x="0" y="196538"/>
                  <a:pt x="196538" y="0"/>
                  <a:pt x="438979" y="0"/>
                </a:cubicBezTo>
                <a:lnTo>
                  <a:pt x="438979" y="0"/>
                </a:lnTo>
                <a:cubicBezTo>
                  <a:pt x="681420" y="0"/>
                  <a:pt x="877958" y="196538"/>
                  <a:pt x="877958" y="438979"/>
                </a:cubicBezTo>
                <a:lnTo>
                  <a:pt x="877958" y="5389536"/>
                </a:lnTo>
                <a:lnTo>
                  <a:pt x="877958" y="5389536"/>
                </a:lnTo>
              </a:path>
            </a:pathLst>
          </a:cu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endParaRPr lang="en-US" sz="1600" err="1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5E9C315F-6F0F-88CF-06F8-56C10BD0C2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FB046CC9-1517-70B1-8165-DF336CD8DB17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5617028" y="2465262"/>
            <a:ext cx="5889171" cy="3285811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</p:spTree>
    <p:extLst>
      <p:ext uri="{BB962C8B-B14F-4D97-AF65-F5344CB8AC3E}">
        <p14:creationId xmlns:p14="http://schemas.microsoft.com/office/powerpoint/2010/main" val="28784542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2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97C944E-D498-D622-98F6-EFDA468642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613608" y="2001994"/>
            <a:ext cx="5588846" cy="3282696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22C3E46-9D61-E508-04E3-6A06DDAA05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26C46D3E-AC6D-3103-8DBD-956D74F4C909}"/>
              </a:ext>
            </a:extLst>
          </p:cNvPr>
          <p:cNvSpPr/>
          <p:nvPr userDrawn="1"/>
        </p:nvSpPr>
        <p:spPr>
          <a:xfrm rot="900000">
            <a:off x="8442677" y="-448970"/>
            <a:ext cx="3111997" cy="7865277"/>
          </a:xfrm>
          <a:custGeom>
            <a:avLst/>
            <a:gdLst>
              <a:gd name="connsiteX0" fmla="*/ 0 w 3111997"/>
              <a:gd name="connsiteY0" fmla="*/ 743009 h 7865277"/>
              <a:gd name="connsiteX1" fmla="*/ 2772948 w 3111997"/>
              <a:gd name="connsiteY1" fmla="*/ 0 h 7865277"/>
              <a:gd name="connsiteX2" fmla="*/ 3111997 w 3111997"/>
              <a:gd name="connsiteY2" fmla="*/ 1265346 h 7865277"/>
              <a:gd name="connsiteX3" fmla="*/ 3111997 w 3111997"/>
              <a:gd name="connsiteY3" fmla="*/ 7031420 h 7865277"/>
              <a:gd name="connsiteX4" fmla="*/ 0 w 3111997"/>
              <a:gd name="connsiteY4" fmla="*/ 7865277 h 7865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11997" h="7865277">
                <a:moveTo>
                  <a:pt x="0" y="743009"/>
                </a:moveTo>
                <a:lnTo>
                  <a:pt x="2772948" y="0"/>
                </a:lnTo>
                <a:lnTo>
                  <a:pt x="3111997" y="1265346"/>
                </a:lnTo>
                <a:lnTo>
                  <a:pt x="3111997" y="7031420"/>
                </a:lnTo>
                <a:lnTo>
                  <a:pt x="0" y="7865277"/>
                </a:lnTo>
                <a:close/>
              </a:path>
            </a:pathLst>
          </a:custGeom>
          <a:gradFill flip="none" rotWithShape="1">
            <a:gsLst>
              <a:gs pos="80000">
                <a:srgbClr val="005587"/>
              </a:gs>
              <a:gs pos="20000">
                <a:srgbClr val="140B42"/>
              </a:gs>
            </a:gsLst>
            <a:lin ang="5400000" scaled="1"/>
            <a:tileRect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C91B8118-8001-4841-19F8-D496141A50A0}"/>
              </a:ext>
            </a:extLst>
          </p:cNvPr>
          <p:cNvSpPr/>
          <p:nvPr userDrawn="1"/>
        </p:nvSpPr>
        <p:spPr>
          <a:xfrm rot="900000">
            <a:off x="7857953" y="-251045"/>
            <a:ext cx="1122250" cy="6279582"/>
          </a:xfrm>
          <a:custGeom>
            <a:avLst/>
            <a:gdLst>
              <a:gd name="connsiteX0" fmla="*/ 0 w 1122250"/>
              <a:gd name="connsiteY0" fmla="*/ 299494 h 6279582"/>
              <a:gd name="connsiteX1" fmla="*/ 1117728 w 1122250"/>
              <a:gd name="connsiteY1" fmla="*/ 0 h 6279582"/>
              <a:gd name="connsiteX2" fmla="*/ 1122250 w 1122250"/>
              <a:gd name="connsiteY2" fmla="*/ 44868 h 6279582"/>
              <a:gd name="connsiteX3" fmla="*/ 1122250 w 1122250"/>
              <a:gd name="connsiteY3" fmla="*/ 5718457 h 6279582"/>
              <a:gd name="connsiteX4" fmla="*/ 561125 w 1122250"/>
              <a:gd name="connsiteY4" fmla="*/ 6279582 h 6279582"/>
              <a:gd name="connsiteX5" fmla="*/ 0 w 1122250"/>
              <a:gd name="connsiteY5" fmla="*/ 5718457 h 6279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22250" h="6279582">
                <a:moveTo>
                  <a:pt x="0" y="299494"/>
                </a:moveTo>
                <a:lnTo>
                  <a:pt x="1117728" y="0"/>
                </a:lnTo>
                <a:lnTo>
                  <a:pt x="1122250" y="44868"/>
                </a:lnTo>
                <a:lnTo>
                  <a:pt x="1122250" y="5718457"/>
                </a:lnTo>
                <a:cubicBezTo>
                  <a:pt x="1122250" y="6028358"/>
                  <a:pt x="871026" y="6279582"/>
                  <a:pt x="561125" y="6279582"/>
                </a:cubicBezTo>
                <a:cubicBezTo>
                  <a:pt x="251224" y="6279582"/>
                  <a:pt x="0" y="6028358"/>
                  <a:pt x="0" y="571845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3D0BEB81-5C21-E6CB-2945-4D85A1CF4B39}"/>
              </a:ext>
            </a:extLst>
          </p:cNvPr>
          <p:cNvSpPr/>
          <p:nvPr userDrawn="1"/>
        </p:nvSpPr>
        <p:spPr>
          <a:xfrm rot="900000">
            <a:off x="10684011" y="4443897"/>
            <a:ext cx="1122250" cy="2625649"/>
          </a:xfrm>
          <a:custGeom>
            <a:avLst/>
            <a:gdLst>
              <a:gd name="connsiteX0" fmla="*/ 448039 w 1122250"/>
              <a:gd name="connsiteY0" fmla="*/ 11400 h 2625649"/>
              <a:gd name="connsiteX1" fmla="*/ 561125 w 1122250"/>
              <a:gd name="connsiteY1" fmla="*/ 1 h 2625649"/>
              <a:gd name="connsiteX2" fmla="*/ 1122250 w 1122250"/>
              <a:gd name="connsiteY2" fmla="*/ 561125 h 2625649"/>
              <a:gd name="connsiteX3" fmla="*/ 1122250 w 1122250"/>
              <a:gd name="connsiteY3" fmla="*/ 2324943 h 2625649"/>
              <a:gd name="connsiteX4" fmla="*/ 0 w 1122250"/>
              <a:gd name="connsiteY4" fmla="*/ 2625649 h 2625649"/>
              <a:gd name="connsiteX5" fmla="*/ 0 w 1122250"/>
              <a:gd name="connsiteY5" fmla="*/ 561125 h 2625649"/>
              <a:gd name="connsiteX6" fmla="*/ 448039 w 1122250"/>
              <a:gd name="connsiteY6" fmla="*/ 11400 h 262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22250" h="2625649">
                <a:moveTo>
                  <a:pt x="448039" y="11400"/>
                </a:moveTo>
                <a:cubicBezTo>
                  <a:pt x="484566" y="3926"/>
                  <a:pt x="522387" y="0"/>
                  <a:pt x="561125" y="1"/>
                </a:cubicBezTo>
                <a:cubicBezTo>
                  <a:pt x="871026" y="0"/>
                  <a:pt x="1122250" y="251225"/>
                  <a:pt x="1122250" y="561125"/>
                </a:cubicBezTo>
                <a:lnTo>
                  <a:pt x="1122250" y="2324943"/>
                </a:lnTo>
                <a:lnTo>
                  <a:pt x="0" y="2625649"/>
                </a:lnTo>
                <a:lnTo>
                  <a:pt x="0" y="561125"/>
                </a:lnTo>
                <a:cubicBezTo>
                  <a:pt x="0" y="289962"/>
                  <a:pt x="192344" y="63723"/>
                  <a:pt x="448039" y="1140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3441659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4-03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>
            <a:extLst>
              <a:ext uri="{FF2B5EF4-FFF2-40B4-BE49-F238E27FC236}">
                <a16:creationId xmlns:a16="http://schemas.microsoft.com/office/drawing/2014/main" id="{D008FDF6-6C42-435C-8ABA-FDA3F0DFE00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5995852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5995852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5995852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78BCC127-A4D6-48D0-A944-3E354801CDCC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1709"/>
          <a:stretch/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2455B4A9-C2C4-4D4B-B5A6-E3BB93F31793}"/>
              </a:ext>
            </a:extLst>
          </p:cNvPr>
          <p:cNvSpPr/>
          <p:nvPr userDrawn="1"/>
        </p:nvSpPr>
        <p:spPr>
          <a:xfrm rot="18880191">
            <a:off x="7003968" y="958724"/>
            <a:ext cx="5766811" cy="1634831"/>
          </a:xfrm>
          <a:custGeom>
            <a:avLst/>
            <a:gdLst>
              <a:gd name="connsiteX0" fmla="*/ 7130190 w 7130190"/>
              <a:gd name="connsiteY0" fmla="*/ 1494581 h 2021334"/>
              <a:gd name="connsiteX1" fmla="*/ 6597331 w 7130190"/>
              <a:gd name="connsiteY1" fmla="*/ 2021334 h 2021334"/>
              <a:gd name="connsiteX2" fmla="*/ 1010667 w 7130190"/>
              <a:gd name="connsiteY2" fmla="*/ 2021334 h 2021334"/>
              <a:gd name="connsiteX3" fmla="*/ 0 w 7130190"/>
              <a:gd name="connsiteY3" fmla="*/ 1010667 h 2021334"/>
              <a:gd name="connsiteX4" fmla="*/ 1010667 w 7130190"/>
              <a:gd name="connsiteY4" fmla="*/ 0 h 2021334"/>
              <a:gd name="connsiteX5" fmla="*/ 5652735 w 7130190"/>
              <a:gd name="connsiteY5" fmla="*/ 0 h 2021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30190" h="2021334">
                <a:moveTo>
                  <a:pt x="7130190" y="1494581"/>
                </a:moveTo>
                <a:lnTo>
                  <a:pt x="6597331" y="2021334"/>
                </a:lnTo>
                <a:lnTo>
                  <a:pt x="1010667" y="2021334"/>
                </a:lnTo>
                <a:cubicBezTo>
                  <a:pt x="452491" y="2021334"/>
                  <a:pt x="0" y="1568843"/>
                  <a:pt x="0" y="1010667"/>
                </a:cubicBezTo>
                <a:cubicBezTo>
                  <a:pt x="0" y="452491"/>
                  <a:pt x="452491" y="0"/>
                  <a:pt x="1010667" y="0"/>
                </a:cubicBezTo>
                <a:lnTo>
                  <a:pt x="5652735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9745EF4D-5A59-0033-22CE-A967C3343CEA}"/>
              </a:ext>
            </a:extLst>
          </p:cNvPr>
          <p:cNvSpPr/>
          <p:nvPr userDrawn="1"/>
        </p:nvSpPr>
        <p:spPr>
          <a:xfrm rot="18880191">
            <a:off x="8499307" y="2355298"/>
            <a:ext cx="2930426" cy="887781"/>
          </a:xfrm>
          <a:prstGeom prst="roundRect">
            <a:avLst>
              <a:gd name="adj" fmla="val 50000"/>
            </a:avLst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74CC37FF-6C44-F059-2F5F-95F30D6AF64C}"/>
              </a:ext>
            </a:extLst>
          </p:cNvPr>
          <p:cNvSpPr/>
          <p:nvPr userDrawn="1"/>
        </p:nvSpPr>
        <p:spPr>
          <a:xfrm rot="18880191">
            <a:off x="8572095" y="74113"/>
            <a:ext cx="2335382" cy="887781"/>
          </a:xfrm>
          <a:custGeom>
            <a:avLst/>
            <a:gdLst>
              <a:gd name="connsiteX0" fmla="*/ 1802418 w 2887509"/>
              <a:gd name="connsiteY0" fmla="*/ 0 h 1097669"/>
              <a:gd name="connsiteX1" fmla="*/ 2887509 w 2887509"/>
              <a:gd name="connsiteY1" fmla="*/ 1097669 h 1097669"/>
              <a:gd name="connsiteX2" fmla="*/ 548834 w 2887509"/>
              <a:gd name="connsiteY2" fmla="*/ 1097668 h 1097669"/>
              <a:gd name="connsiteX3" fmla="*/ 0 w 2887509"/>
              <a:gd name="connsiteY3" fmla="*/ 548834 h 1097669"/>
              <a:gd name="connsiteX4" fmla="*/ 548834 w 2887509"/>
              <a:gd name="connsiteY4" fmla="*/ 0 h 10976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7509" h="1097669">
                <a:moveTo>
                  <a:pt x="1802418" y="0"/>
                </a:moveTo>
                <a:lnTo>
                  <a:pt x="2887509" y="1097669"/>
                </a:lnTo>
                <a:lnTo>
                  <a:pt x="548834" y="1097668"/>
                </a:lnTo>
                <a:cubicBezTo>
                  <a:pt x="245721" y="1097668"/>
                  <a:pt x="0" y="851947"/>
                  <a:pt x="0" y="548834"/>
                </a:cubicBezTo>
                <a:cubicBezTo>
                  <a:pt x="0" y="245721"/>
                  <a:pt x="245721" y="0"/>
                  <a:pt x="548834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B69183B-EF09-DEB8-DBB1-EE99DD036764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AAC475A6-CE10-0E6A-2700-525C57FA92F3}"/>
              </a:ext>
            </a:extLst>
          </p:cNvPr>
          <p:cNvSpPr>
            <a:spLocks/>
          </p:cNvSpPr>
          <p:nvPr userDrawn="1"/>
        </p:nvSpPr>
        <p:spPr bwMode="auto">
          <a:xfrm rot="2700000">
            <a:off x="9437387" y="536223"/>
            <a:ext cx="3931862" cy="3934695"/>
          </a:xfrm>
          <a:custGeom>
            <a:avLst/>
            <a:gdLst>
              <a:gd name="connsiteX0" fmla="*/ 382156 w 3931862"/>
              <a:gd name="connsiteY0" fmla="*/ 10539 h 3934695"/>
              <a:gd name="connsiteX1" fmla="*/ 384583 w 3931862"/>
              <a:gd name="connsiteY1" fmla="*/ 9785 h 3934695"/>
              <a:gd name="connsiteX2" fmla="*/ 481653 w 3931862"/>
              <a:gd name="connsiteY2" fmla="*/ 0 h 3934695"/>
              <a:gd name="connsiteX3" fmla="*/ 1113950 w 3931862"/>
              <a:gd name="connsiteY3" fmla="*/ 0 h 3934695"/>
              <a:gd name="connsiteX4" fmla="*/ 3931862 w 3931862"/>
              <a:gd name="connsiteY4" fmla="*/ 2817912 h 3934695"/>
              <a:gd name="connsiteX5" fmla="*/ 3931862 w 3931862"/>
              <a:gd name="connsiteY5" fmla="*/ 3453042 h 3934695"/>
              <a:gd name="connsiteX6" fmla="*/ 3450209 w 3931862"/>
              <a:gd name="connsiteY6" fmla="*/ 3934695 h 3934695"/>
              <a:gd name="connsiteX7" fmla="*/ 481653 w 3931862"/>
              <a:gd name="connsiteY7" fmla="*/ 3934695 h 3934695"/>
              <a:gd name="connsiteX8" fmla="*/ 0 w 3931862"/>
              <a:gd name="connsiteY8" fmla="*/ 3453042 h 3934695"/>
              <a:gd name="connsiteX9" fmla="*/ 0 w 3931862"/>
              <a:gd name="connsiteY9" fmla="*/ 481653 h 3934695"/>
              <a:gd name="connsiteX10" fmla="*/ 9786 w 3931862"/>
              <a:gd name="connsiteY10" fmla="*/ 384583 h 3934695"/>
              <a:gd name="connsiteX11" fmla="*/ 10539 w 3931862"/>
              <a:gd name="connsiteY11" fmla="*/ 382157 h 39346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931862" h="3934695">
                <a:moveTo>
                  <a:pt x="382156" y="10539"/>
                </a:moveTo>
                <a:lnTo>
                  <a:pt x="384583" y="9785"/>
                </a:lnTo>
                <a:cubicBezTo>
                  <a:pt x="415937" y="3370"/>
                  <a:pt x="448402" y="0"/>
                  <a:pt x="481653" y="0"/>
                </a:cubicBezTo>
                <a:lnTo>
                  <a:pt x="1113950" y="0"/>
                </a:lnTo>
                <a:lnTo>
                  <a:pt x="3931862" y="2817912"/>
                </a:lnTo>
                <a:lnTo>
                  <a:pt x="3931862" y="3453042"/>
                </a:lnTo>
                <a:cubicBezTo>
                  <a:pt x="3931862" y="3719052"/>
                  <a:pt x="3716219" y="3934695"/>
                  <a:pt x="3450209" y="3934695"/>
                </a:cubicBezTo>
                <a:lnTo>
                  <a:pt x="481653" y="3934695"/>
                </a:lnTo>
                <a:cubicBezTo>
                  <a:pt x="215643" y="3934695"/>
                  <a:pt x="0" y="3719052"/>
                  <a:pt x="0" y="3453042"/>
                </a:cubicBezTo>
                <a:lnTo>
                  <a:pt x="0" y="481653"/>
                </a:lnTo>
                <a:cubicBezTo>
                  <a:pt x="0" y="448402"/>
                  <a:pt x="3369" y="415937"/>
                  <a:pt x="9786" y="384583"/>
                </a:cubicBezTo>
                <a:lnTo>
                  <a:pt x="10539" y="38215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>
              <a:solidFill>
                <a:schemeClr val="lt1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74012F6A-325E-BA05-9E6A-DBAD18E7D956}"/>
              </a:ext>
            </a:extLst>
          </p:cNvPr>
          <p:cNvSpPr>
            <a:spLocks/>
          </p:cNvSpPr>
          <p:nvPr userDrawn="1"/>
        </p:nvSpPr>
        <p:spPr bwMode="auto">
          <a:xfrm rot="2700000">
            <a:off x="10223690" y="810799"/>
            <a:ext cx="3785617" cy="3568117"/>
          </a:xfrm>
          <a:custGeom>
            <a:avLst/>
            <a:gdLst>
              <a:gd name="connsiteX0" fmla="*/ 105591 w 3804547"/>
              <a:gd name="connsiteY0" fmla="*/ 0 h 3701473"/>
              <a:gd name="connsiteX1" fmla="*/ 3804547 w 3804547"/>
              <a:gd name="connsiteY1" fmla="*/ 3698955 h 3701473"/>
              <a:gd name="connsiteX2" fmla="*/ 3779576 w 3804547"/>
              <a:gd name="connsiteY2" fmla="*/ 3701473 h 3701473"/>
              <a:gd name="connsiteX3" fmla="*/ 501834 w 3804547"/>
              <a:gd name="connsiteY3" fmla="*/ 3701473 h 3701473"/>
              <a:gd name="connsiteX4" fmla="*/ 0 w 3804547"/>
              <a:gd name="connsiteY4" fmla="*/ 3199639 h 3701473"/>
              <a:gd name="connsiteX5" fmla="*/ 0 w 3804547"/>
              <a:gd name="connsiteY5" fmla="*/ 106703 h 3701473"/>
              <a:gd name="connsiteX6" fmla="*/ 125 w 3804547"/>
              <a:gd name="connsiteY6" fmla="*/ 105466 h 3701473"/>
              <a:gd name="connsiteX0" fmla="*/ 105591 w 3804547"/>
              <a:gd name="connsiteY0" fmla="*/ 0 h 3701473"/>
              <a:gd name="connsiteX1" fmla="*/ 3804547 w 3804547"/>
              <a:gd name="connsiteY1" fmla="*/ 3698955 h 3701473"/>
              <a:gd name="connsiteX2" fmla="*/ 3779576 w 3804547"/>
              <a:gd name="connsiteY2" fmla="*/ 3701473 h 3701473"/>
              <a:gd name="connsiteX3" fmla="*/ 501834 w 3804547"/>
              <a:gd name="connsiteY3" fmla="*/ 3701473 h 3701473"/>
              <a:gd name="connsiteX4" fmla="*/ 0 w 3804547"/>
              <a:gd name="connsiteY4" fmla="*/ 3199639 h 3701473"/>
              <a:gd name="connsiteX5" fmla="*/ 0 w 3804547"/>
              <a:gd name="connsiteY5" fmla="*/ 106703 h 3701473"/>
              <a:gd name="connsiteX6" fmla="*/ 125 w 3804547"/>
              <a:gd name="connsiteY6" fmla="*/ 105466 h 3701473"/>
              <a:gd name="connsiteX7" fmla="*/ 197031 w 3804547"/>
              <a:gd name="connsiteY7" fmla="*/ 91440 h 3701473"/>
              <a:gd name="connsiteX0" fmla="*/ 105591 w 3804547"/>
              <a:gd name="connsiteY0" fmla="*/ 0 h 3701473"/>
              <a:gd name="connsiteX1" fmla="*/ 3804547 w 3804547"/>
              <a:gd name="connsiteY1" fmla="*/ 3698955 h 3701473"/>
              <a:gd name="connsiteX2" fmla="*/ 3779576 w 3804547"/>
              <a:gd name="connsiteY2" fmla="*/ 3701473 h 3701473"/>
              <a:gd name="connsiteX3" fmla="*/ 501834 w 3804547"/>
              <a:gd name="connsiteY3" fmla="*/ 3701473 h 3701473"/>
              <a:gd name="connsiteX4" fmla="*/ 0 w 3804547"/>
              <a:gd name="connsiteY4" fmla="*/ 3199639 h 3701473"/>
              <a:gd name="connsiteX5" fmla="*/ 0 w 3804547"/>
              <a:gd name="connsiteY5" fmla="*/ 106703 h 3701473"/>
              <a:gd name="connsiteX6" fmla="*/ 125 w 3804547"/>
              <a:gd name="connsiteY6" fmla="*/ 105466 h 3701473"/>
              <a:gd name="connsiteX0" fmla="*/ 3804547 w 3804547"/>
              <a:gd name="connsiteY0" fmla="*/ 3593489 h 3596007"/>
              <a:gd name="connsiteX1" fmla="*/ 3779576 w 3804547"/>
              <a:gd name="connsiteY1" fmla="*/ 3596007 h 3596007"/>
              <a:gd name="connsiteX2" fmla="*/ 501834 w 3804547"/>
              <a:gd name="connsiteY2" fmla="*/ 3596007 h 3596007"/>
              <a:gd name="connsiteX3" fmla="*/ 0 w 3804547"/>
              <a:gd name="connsiteY3" fmla="*/ 3094173 h 3596007"/>
              <a:gd name="connsiteX4" fmla="*/ 0 w 3804547"/>
              <a:gd name="connsiteY4" fmla="*/ 1237 h 3596007"/>
              <a:gd name="connsiteX5" fmla="*/ 125 w 3804547"/>
              <a:gd name="connsiteY5" fmla="*/ 0 h 359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04547" h="3596007">
                <a:moveTo>
                  <a:pt x="3804547" y="3593489"/>
                </a:moveTo>
                <a:lnTo>
                  <a:pt x="3779576" y="3596007"/>
                </a:lnTo>
                <a:lnTo>
                  <a:pt x="501834" y="3596007"/>
                </a:lnTo>
                <a:cubicBezTo>
                  <a:pt x="224679" y="3596007"/>
                  <a:pt x="0" y="3371328"/>
                  <a:pt x="0" y="3094173"/>
                </a:cubicBezTo>
                <a:lnTo>
                  <a:pt x="0" y="1237"/>
                </a:lnTo>
                <a:cubicBezTo>
                  <a:pt x="42" y="825"/>
                  <a:pt x="83" y="412"/>
                  <a:pt x="125" y="0"/>
                </a:cubicBez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37111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3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AEDBA70-406E-67AC-EA19-AFC94EEB8D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80FF161-95B3-687F-236E-89576B37039B}"/>
              </a:ext>
            </a:extLst>
          </p:cNvPr>
          <p:cNvSpPr/>
          <p:nvPr userDrawn="1"/>
        </p:nvSpPr>
        <p:spPr>
          <a:xfrm rot="18896850">
            <a:off x="8810675" y="809749"/>
            <a:ext cx="2572502" cy="63814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91B89BCA-B6DC-9CFA-1B14-60CBF7F68A9A}"/>
              </a:ext>
            </a:extLst>
          </p:cNvPr>
          <p:cNvSpPr/>
          <p:nvPr userDrawn="1"/>
        </p:nvSpPr>
        <p:spPr>
          <a:xfrm rot="18896850">
            <a:off x="9955161" y="3750354"/>
            <a:ext cx="2884755" cy="638140"/>
          </a:xfrm>
          <a:custGeom>
            <a:avLst/>
            <a:gdLst>
              <a:gd name="connsiteX0" fmla="*/ 3674317 w 3674317"/>
              <a:gd name="connsiteY0" fmla="*/ 0 h 812800"/>
              <a:gd name="connsiteX1" fmla="*/ 2860027 w 3674317"/>
              <a:gd name="connsiteY1" fmla="*/ 812800 h 812800"/>
              <a:gd name="connsiteX2" fmla="*/ 406400 w 3674317"/>
              <a:gd name="connsiteY2" fmla="*/ 812800 h 812800"/>
              <a:gd name="connsiteX3" fmla="*/ 0 w 3674317"/>
              <a:gd name="connsiteY3" fmla="*/ 406400 h 812800"/>
              <a:gd name="connsiteX4" fmla="*/ 406400 w 3674317"/>
              <a:gd name="connsiteY4" fmla="*/ 0 h 812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74317" h="812800">
                <a:moveTo>
                  <a:pt x="3674317" y="0"/>
                </a:moveTo>
                <a:lnTo>
                  <a:pt x="2860027" y="812800"/>
                </a:lnTo>
                <a:lnTo>
                  <a:pt x="406400" y="812800"/>
                </a:lnTo>
                <a:cubicBezTo>
                  <a:pt x="181951" y="812800"/>
                  <a:pt x="0" y="630849"/>
                  <a:pt x="0" y="406400"/>
                </a:cubicBezTo>
                <a:cubicBezTo>
                  <a:pt x="0" y="181951"/>
                  <a:pt x="181951" y="0"/>
                  <a:pt x="406400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F014C0-8BB5-5793-9DBD-D422EF624E7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613608" y="711200"/>
            <a:ext cx="7285515" cy="4576605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D381AB1C-94E0-88DE-B7FB-AF548E53C0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5585" y="5760594"/>
            <a:ext cx="2247900" cy="406400"/>
          </a:xfrm>
          <a:prstGeom prst="rect">
            <a:avLst/>
          </a:prstGeom>
        </p:spPr>
      </p:pic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E20C9601-4C00-1F60-ACBA-FDEED78A2031}"/>
              </a:ext>
            </a:extLst>
          </p:cNvPr>
          <p:cNvSpPr>
            <a:spLocks/>
          </p:cNvSpPr>
          <p:nvPr userDrawn="1"/>
        </p:nvSpPr>
        <p:spPr bwMode="auto">
          <a:xfrm>
            <a:off x="11012739" y="-38910"/>
            <a:ext cx="1224656" cy="1829007"/>
          </a:xfrm>
          <a:custGeom>
            <a:avLst/>
            <a:gdLst>
              <a:gd name="connsiteX0" fmla="*/ 153315 w 1224656"/>
              <a:gd name="connsiteY0" fmla="*/ 0 h 1829007"/>
              <a:gd name="connsiteX1" fmla="*/ 1224656 w 1224656"/>
              <a:gd name="connsiteY1" fmla="*/ 0 h 1829007"/>
              <a:gd name="connsiteX2" fmla="*/ 1224656 w 1224656"/>
              <a:gd name="connsiteY2" fmla="*/ 1829007 h 1829007"/>
              <a:gd name="connsiteX3" fmla="*/ 1154215 w 1224656"/>
              <a:gd name="connsiteY3" fmla="*/ 1758565 h 1829007"/>
              <a:gd name="connsiteX4" fmla="*/ 159544 w 1224656"/>
              <a:gd name="connsiteY4" fmla="*/ 763895 h 1829007"/>
              <a:gd name="connsiteX5" fmla="*/ 89744 w 1224656"/>
              <a:gd name="connsiteY5" fmla="*/ 77872 h 1829007"/>
              <a:gd name="connsiteX0" fmla="*/ 1224656 w 1316096"/>
              <a:gd name="connsiteY0" fmla="*/ 0 h 1829007"/>
              <a:gd name="connsiteX1" fmla="*/ 1224656 w 1316096"/>
              <a:gd name="connsiteY1" fmla="*/ 1829007 h 1829007"/>
              <a:gd name="connsiteX2" fmla="*/ 1154215 w 1316096"/>
              <a:gd name="connsiteY2" fmla="*/ 1758565 h 1829007"/>
              <a:gd name="connsiteX3" fmla="*/ 159544 w 1316096"/>
              <a:gd name="connsiteY3" fmla="*/ 763895 h 1829007"/>
              <a:gd name="connsiteX4" fmla="*/ 89744 w 1316096"/>
              <a:gd name="connsiteY4" fmla="*/ 77872 h 1829007"/>
              <a:gd name="connsiteX5" fmla="*/ 153315 w 1316096"/>
              <a:gd name="connsiteY5" fmla="*/ 0 h 1829007"/>
              <a:gd name="connsiteX6" fmla="*/ 1316096 w 1316096"/>
              <a:gd name="connsiteY6" fmla="*/ 91440 h 1829007"/>
              <a:gd name="connsiteX0" fmla="*/ 1224656 w 1224656"/>
              <a:gd name="connsiteY0" fmla="*/ 0 h 1829007"/>
              <a:gd name="connsiteX1" fmla="*/ 1224656 w 1224656"/>
              <a:gd name="connsiteY1" fmla="*/ 1829007 h 1829007"/>
              <a:gd name="connsiteX2" fmla="*/ 1154215 w 1224656"/>
              <a:gd name="connsiteY2" fmla="*/ 1758565 h 1829007"/>
              <a:gd name="connsiteX3" fmla="*/ 159544 w 1224656"/>
              <a:gd name="connsiteY3" fmla="*/ 763895 h 1829007"/>
              <a:gd name="connsiteX4" fmla="*/ 89744 w 1224656"/>
              <a:gd name="connsiteY4" fmla="*/ 77872 h 1829007"/>
              <a:gd name="connsiteX5" fmla="*/ 153315 w 1224656"/>
              <a:gd name="connsiteY5" fmla="*/ 0 h 1829007"/>
              <a:gd name="connsiteX0" fmla="*/ 1224656 w 1224656"/>
              <a:gd name="connsiteY0" fmla="*/ 1829007 h 1829007"/>
              <a:gd name="connsiteX1" fmla="*/ 1154215 w 1224656"/>
              <a:gd name="connsiteY1" fmla="*/ 1758565 h 1829007"/>
              <a:gd name="connsiteX2" fmla="*/ 159544 w 1224656"/>
              <a:gd name="connsiteY2" fmla="*/ 763895 h 1829007"/>
              <a:gd name="connsiteX3" fmla="*/ 89744 w 1224656"/>
              <a:gd name="connsiteY3" fmla="*/ 77872 h 1829007"/>
              <a:gd name="connsiteX4" fmla="*/ 153315 w 1224656"/>
              <a:gd name="connsiteY4" fmla="*/ 0 h 1829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4656" h="1829007">
                <a:moveTo>
                  <a:pt x="1224656" y="1829007"/>
                </a:moveTo>
                <a:lnTo>
                  <a:pt x="1154215" y="1758565"/>
                </a:lnTo>
                <a:lnTo>
                  <a:pt x="159544" y="763895"/>
                </a:lnTo>
                <a:cubicBezTo>
                  <a:pt x="-26590" y="577761"/>
                  <a:pt x="-49857" y="289530"/>
                  <a:pt x="89744" y="77872"/>
                </a:cubicBezTo>
                <a:lnTo>
                  <a:pt x="153315" y="0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30699829-9421-BC32-D008-18D3C6101425}"/>
              </a:ext>
            </a:extLst>
          </p:cNvPr>
          <p:cNvSpPr>
            <a:spLocks/>
          </p:cNvSpPr>
          <p:nvPr userDrawn="1"/>
        </p:nvSpPr>
        <p:spPr bwMode="auto">
          <a:xfrm rot="2700000">
            <a:off x="9141640" y="1040337"/>
            <a:ext cx="3187991" cy="3194255"/>
          </a:xfrm>
          <a:custGeom>
            <a:avLst/>
            <a:gdLst>
              <a:gd name="connsiteX0" fmla="*/ 159586 w 3187991"/>
              <a:gd name="connsiteY0" fmla="*/ 159586 h 3194255"/>
              <a:gd name="connsiteX1" fmla="*/ 544860 w 3187991"/>
              <a:gd name="connsiteY1" fmla="*/ 0 h 3194255"/>
              <a:gd name="connsiteX2" fmla="*/ 2056479 w 3187991"/>
              <a:gd name="connsiteY2" fmla="*/ 0 h 3194255"/>
              <a:gd name="connsiteX3" fmla="*/ 3187991 w 3187991"/>
              <a:gd name="connsiteY3" fmla="*/ 1131513 h 3194255"/>
              <a:gd name="connsiteX4" fmla="*/ 3187991 w 3187991"/>
              <a:gd name="connsiteY4" fmla="*/ 2649395 h 3194255"/>
              <a:gd name="connsiteX5" fmla="*/ 2643131 w 3187991"/>
              <a:gd name="connsiteY5" fmla="*/ 3194255 h 3194255"/>
              <a:gd name="connsiteX6" fmla="*/ 544860 w 3187991"/>
              <a:gd name="connsiteY6" fmla="*/ 3194255 h 3194255"/>
              <a:gd name="connsiteX7" fmla="*/ 0 w 3187991"/>
              <a:gd name="connsiteY7" fmla="*/ 2649395 h 3194255"/>
              <a:gd name="connsiteX8" fmla="*/ 0 w 3187991"/>
              <a:gd name="connsiteY8" fmla="*/ 544860 h 3194255"/>
              <a:gd name="connsiteX9" fmla="*/ 159586 w 3187991"/>
              <a:gd name="connsiteY9" fmla="*/ 159586 h 3194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87991" h="3194255">
                <a:moveTo>
                  <a:pt x="159586" y="159586"/>
                </a:moveTo>
                <a:cubicBezTo>
                  <a:pt x="258186" y="60985"/>
                  <a:pt x="394401" y="0"/>
                  <a:pt x="544860" y="0"/>
                </a:cubicBezTo>
                <a:lnTo>
                  <a:pt x="2056479" y="0"/>
                </a:lnTo>
                <a:lnTo>
                  <a:pt x="3187991" y="1131513"/>
                </a:lnTo>
                <a:lnTo>
                  <a:pt x="3187991" y="2649395"/>
                </a:lnTo>
                <a:cubicBezTo>
                  <a:pt x="3187991" y="2950313"/>
                  <a:pt x="2944049" y="3194255"/>
                  <a:pt x="2643131" y="3194255"/>
                </a:cubicBezTo>
                <a:lnTo>
                  <a:pt x="544860" y="3194255"/>
                </a:lnTo>
                <a:cubicBezTo>
                  <a:pt x="243942" y="3194255"/>
                  <a:pt x="0" y="2950313"/>
                  <a:pt x="0" y="2649395"/>
                </a:cubicBezTo>
                <a:lnTo>
                  <a:pt x="0" y="544860"/>
                </a:lnTo>
                <a:cubicBezTo>
                  <a:pt x="0" y="394401"/>
                  <a:pt x="60985" y="258186"/>
                  <a:pt x="159586" y="15958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10949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4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: Shape 3">
            <a:extLst>
              <a:ext uri="{FF2B5EF4-FFF2-40B4-BE49-F238E27FC236}">
                <a16:creationId xmlns:a16="http://schemas.microsoft.com/office/drawing/2014/main" id="{C8B1F425-7FCC-95EC-889D-1C469BA8156D}"/>
              </a:ext>
            </a:extLst>
          </p:cNvPr>
          <p:cNvSpPr>
            <a:spLocks/>
          </p:cNvSpPr>
          <p:nvPr userDrawn="1"/>
        </p:nvSpPr>
        <p:spPr>
          <a:xfrm rot="2700000">
            <a:off x="8997003" y="-456334"/>
            <a:ext cx="1658711" cy="5443918"/>
          </a:xfrm>
          <a:custGeom>
            <a:avLst/>
            <a:gdLst>
              <a:gd name="connsiteX0" fmla="*/ 291026 w 1987250"/>
              <a:gd name="connsiteY0" fmla="*/ 291026 h 6522188"/>
              <a:gd name="connsiteX1" fmla="*/ 993625 w 1987250"/>
              <a:gd name="connsiteY1" fmla="*/ 0 h 6522188"/>
              <a:gd name="connsiteX2" fmla="*/ 1987250 w 1987250"/>
              <a:gd name="connsiteY2" fmla="*/ 993625 h 6522188"/>
              <a:gd name="connsiteX3" fmla="*/ 1987250 w 1987250"/>
              <a:gd name="connsiteY3" fmla="*/ 5536869 h 6522188"/>
              <a:gd name="connsiteX4" fmla="*/ 1001931 w 1987250"/>
              <a:gd name="connsiteY4" fmla="*/ 6522188 h 6522188"/>
              <a:gd name="connsiteX5" fmla="*/ 0 w 1987250"/>
              <a:gd name="connsiteY5" fmla="*/ 5520256 h 6522188"/>
              <a:gd name="connsiteX6" fmla="*/ 0 w 1987250"/>
              <a:gd name="connsiteY6" fmla="*/ 993625 h 6522188"/>
              <a:gd name="connsiteX7" fmla="*/ 291026 w 1987250"/>
              <a:gd name="connsiteY7" fmla="*/ 291026 h 652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87250" h="6522188">
                <a:moveTo>
                  <a:pt x="291026" y="291026"/>
                </a:moveTo>
                <a:cubicBezTo>
                  <a:pt x="470837" y="111215"/>
                  <a:pt x="719243" y="0"/>
                  <a:pt x="993625" y="0"/>
                </a:cubicBezTo>
                <a:cubicBezTo>
                  <a:pt x="1542389" y="0"/>
                  <a:pt x="1987250" y="444861"/>
                  <a:pt x="1987250" y="993625"/>
                </a:cubicBezTo>
                <a:lnTo>
                  <a:pt x="1987250" y="5536869"/>
                </a:lnTo>
                <a:lnTo>
                  <a:pt x="1001931" y="6522188"/>
                </a:lnTo>
                <a:lnTo>
                  <a:pt x="0" y="5520256"/>
                </a:lnTo>
                <a:lnTo>
                  <a:pt x="0" y="993625"/>
                </a:lnTo>
                <a:cubicBezTo>
                  <a:pt x="0" y="719243"/>
                  <a:pt x="111216" y="470837"/>
                  <a:pt x="291026" y="29102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D8CB6CB-17D6-9423-37F8-6EFC4880AEC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613608" y="1741713"/>
            <a:ext cx="5071843" cy="3374574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8CA16036-B78E-0275-6CA7-911DE4060426}"/>
              </a:ext>
            </a:extLst>
          </p:cNvPr>
          <p:cNvSpPr>
            <a:spLocks/>
          </p:cNvSpPr>
          <p:nvPr userDrawn="1"/>
        </p:nvSpPr>
        <p:spPr>
          <a:xfrm rot="2700000">
            <a:off x="9736981" y="3459243"/>
            <a:ext cx="1658711" cy="3580309"/>
          </a:xfrm>
          <a:prstGeom prst="roundRect">
            <a:avLst>
              <a:gd name="adj" fmla="val 50000"/>
            </a:avLst>
          </a:prstGeom>
          <a:solidFill>
            <a:srgbClr val="7FD1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BB13D00-4BF1-FD01-6A9F-B1CBB08123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AE586FF-C25B-AF33-5F15-454F206B533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640637" y="1828800"/>
            <a:ext cx="4551363" cy="3581400"/>
          </a:xfrm>
          <a:custGeom>
            <a:avLst/>
            <a:gdLst>
              <a:gd name="connsiteX0" fmla="*/ 374319 w 5422900"/>
              <a:gd name="connsiteY0" fmla="*/ 0 h 4267200"/>
              <a:gd name="connsiteX1" fmla="*/ 5422900 w 5422900"/>
              <a:gd name="connsiteY1" fmla="*/ 0 h 4267200"/>
              <a:gd name="connsiteX2" fmla="*/ 5422900 w 5422900"/>
              <a:gd name="connsiteY2" fmla="*/ 4267200 h 4267200"/>
              <a:gd name="connsiteX3" fmla="*/ 374319 w 5422900"/>
              <a:gd name="connsiteY3" fmla="*/ 4267200 h 4267200"/>
              <a:gd name="connsiteX4" fmla="*/ 0 w 5422900"/>
              <a:gd name="connsiteY4" fmla="*/ 3892881 h 4267200"/>
              <a:gd name="connsiteX5" fmla="*/ 0 w 5422900"/>
              <a:gd name="connsiteY5" fmla="*/ 374319 h 4267200"/>
              <a:gd name="connsiteX6" fmla="*/ 374319 w 5422900"/>
              <a:gd name="connsiteY6" fmla="*/ 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22900" h="4267200">
                <a:moveTo>
                  <a:pt x="374319" y="0"/>
                </a:moveTo>
                <a:lnTo>
                  <a:pt x="5422900" y="0"/>
                </a:lnTo>
                <a:lnTo>
                  <a:pt x="5422900" y="4267200"/>
                </a:lnTo>
                <a:lnTo>
                  <a:pt x="374319" y="4267200"/>
                </a:lnTo>
                <a:cubicBezTo>
                  <a:pt x="167588" y="4267200"/>
                  <a:pt x="0" y="4099612"/>
                  <a:pt x="0" y="3892881"/>
                </a:cubicBezTo>
                <a:lnTo>
                  <a:pt x="0" y="374319"/>
                </a:lnTo>
                <a:cubicBezTo>
                  <a:pt x="0" y="167588"/>
                  <a:pt x="167588" y="0"/>
                  <a:pt x="374319" y="0"/>
                </a:cubicBez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800" b="0">
                <a:solidFill>
                  <a:srgbClr val="FF0000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solidFill>
                  <a:srgbClr val="FF0000"/>
                </a:solidFill>
              </a:rPr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7427911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5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>
            <a:extLst>
              <a:ext uri="{FF2B5EF4-FFF2-40B4-BE49-F238E27FC236}">
                <a16:creationId xmlns:a16="http://schemas.microsoft.com/office/drawing/2014/main" id="{9BE82380-4E70-46AE-92D4-098EF815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613608" y="609600"/>
            <a:ext cx="6202680" cy="4678205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889AB6EA-4B7F-D626-10ED-8532995C414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5585" y="5760594"/>
            <a:ext cx="2247900" cy="406400"/>
          </a:xfrm>
          <a:prstGeom prst="rect">
            <a:avLst/>
          </a:prstGeom>
        </p:spPr>
      </p:pic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9480E36D-D806-7D05-D8DC-4ADC176E28F1}"/>
              </a:ext>
            </a:extLst>
          </p:cNvPr>
          <p:cNvSpPr/>
          <p:nvPr userDrawn="1"/>
        </p:nvSpPr>
        <p:spPr>
          <a:xfrm rot="13473600">
            <a:off x="9007218" y="-739919"/>
            <a:ext cx="2599744" cy="5533217"/>
          </a:xfrm>
          <a:custGeom>
            <a:avLst/>
            <a:gdLst>
              <a:gd name="connsiteX0" fmla="*/ 1378880 w 2599744"/>
              <a:gd name="connsiteY0" fmla="*/ 5533217 h 5533217"/>
              <a:gd name="connsiteX1" fmla="*/ 0 w 2599744"/>
              <a:gd name="connsiteY1" fmla="*/ 4132994 h 5533217"/>
              <a:gd name="connsiteX2" fmla="*/ 0 w 2599744"/>
              <a:gd name="connsiteY2" fmla="*/ 1299873 h 5533217"/>
              <a:gd name="connsiteX3" fmla="*/ 1299872 w 2599744"/>
              <a:gd name="connsiteY3" fmla="*/ 0 h 5533217"/>
              <a:gd name="connsiteX4" fmla="*/ 2599744 w 2599744"/>
              <a:gd name="connsiteY4" fmla="*/ 1299872 h 5533217"/>
              <a:gd name="connsiteX5" fmla="*/ 2599744 w 2599744"/>
              <a:gd name="connsiteY5" fmla="*/ 4330962 h 5533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9744" h="5533217">
                <a:moveTo>
                  <a:pt x="1378880" y="5533217"/>
                </a:moveTo>
                <a:lnTo>
                  <a:pt x="0" y="4132994"/>
                </a:lnTo>
                <a:lnTo>
                  <a:pt x="0" y="1299873"/>
                </a:lnTo>
                <a:cubicBezTo>
                  <a:pt x="0" y="581972"/>
                  <a:pt x="581972" y="0"/>
                  <a:pt x="1299872" y="0"/>
                </a:cubicBezTo>
                <a:cubicBezTo>
                  <a:pt x="2017771" y="0"/>
                  <a:pt x="2599744" y="581973"/>
                  <a:pt x="2599744" y="1299872"/>
                </a:cubicBezTo>
                <a:lnTo>
                  <a:pt x="2599744" y="433096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B79252B4-99CA-3419-840E-DA516CC6BEBB}"/>
              </a:ext>
            </a:extLst>
          </p:cNvPr>
          <p:cNvSpPr/>
          <p:nvPr userDrawn="1"/>
        </p:nvSpPr>
        <p:spPr>
          <a:xfrm rot="20457708">
            <a:off x="11186621" y="-13688"/>
            <a:ext cx="660198" cy="358286"/>
          </a:xfrm>
          <a:custGeom>
            <a:avLst/>
            <a:gdLst>
              <a:gd name="connsiteX0" fmla="*/ 318178 w 660198"/>
              <a:gd name="connsiteY0" fmla="*/ 0 h 358286"/>
              <a:gd name="connsiteX1" fmla="*/ 660198 w 660198"/>
              <a:gd name="connsiteY1" fmla="*/ 118023 h 358286"/>
              <a:gd name="connsiteX2" fmla="*/ 229425 w 660198"/>
              <a:gd name="connsiteY2" fmla="*/ 330222 h 358286"/>
              <a:gd name="connsiteX3" fmla="*/ 13408 w 660198"/>
              <a:gd name="connsiteY3" fmla="*/ 296211 h 358286"/>
              <a:gd name="connsiteX4" fmla="*/ 11570 w 660198"/>
              <a:gd name="connsiteY4" fmla="*/ 291615 h 358286"/>
              <a:gd name="connsiteX5" fmla="*/ 116362 w 660198"/>
              <a:gd name="connsiteY5" fmla="*/ 99498 h 358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0198" h="358286">
                <a:moveTo>
                  <a:pt x="318178" y="0"/>
                </a:moveTo>
                <a:lnTo>
                  <a:pt x="660198" y="118023"/>
                </a:lnTo>
                <a:lnTo>
                  <a:pt x="229425" y="330222"/>
                </a:lnTo>
                <a:cubicBezTo>
                  <a:pt x="69481" y="409276"/>
                  <a:pt x="13408" y="296211"/>
                  <a:pt x="13408" y="296211"/>
                </a:cubicBezTo>
                <a:lnTo>
                  <a:pt x="11570" y="291615"/>
                </a:lnTo>
                <a:cubicBezTo>
                  <a:pt x="-43583" y="178552"/>
                  <a:pt x="116362" y="99498"/>
                  <a:pt x="116362" y="99498"/>
                </a:cubicBezTo>
                <a:close/>
              </a:path>
            </a:pathLst>
          </a:custGeom>
          <a:solidFill>
            <a:schemeClr val="accent5"/>
          </a:solidFill>
          <a:ln w="1270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ru-RU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2BAC8301-D0B3-F09B-8934-4C4BF853D744}"/>
              </a:ext>
            </a:extLst>
          </p:cNvPr>
          <p:cNvSpPr/>
          <p:nvPr userDrawn="1"/>
        </p:nvSpPr>
        <p:spPr>
          <a:xfrm rot="2700000">
            <a:off x="9373836" y="-702513"/>
            <a:ext cx="780382" cy="2913053"/>
          </a:xfrm>
          <a:custGeom>
            <a:avLst/>
            <a:gdLst>
              <a:gd name="connsiteX0" fmla="*/ 0 w 780382"/>
              <a:gd name="connsiteY0" fmla="*/ 780382 h 2913053"/>
              <a:gd name="connsiteX1" fmla="*/ 780382 w 780382"/>
              <a:gd name="connsiteY1" fmla="*/ 0 h 2913053"/>
              <a:gd name="connsiteX2" fmla="*/ 780382 w 780382"/>
              <a:gd name="connsiteY2" fmla="*/ 2522862 h 2913053"/>
              <a:gd name="connsiteX3" fmla="*/ 390191 w 780382"/>
              <a:gd name="connsiteY3" fmla="*/ 2913053 h 2913053"/>
              <a:gd name="connsiteX4" fmla="*/ 0 w 780382"/>
              <a:gd name="connsiteY4" fmla="*/ 2522862 h 2913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382" h="2913053">
                <a:moveTo>
                  <a:pt x="0" y="780382"/>
                </a:moveTo>
                <a:lnTo>
                  <a:pt x="780382" y="0"/>
                </a:lnTo>
                <a:lnTo>
                  <a:pt x="780382" y="2522862"/>
                </a:lnTo>
                <a:cubicBezTo>
                  <a:pt x="780382" y="2738359"/>
                  <a:pt x="605688" y="2913053"/>
                  <a:pt x="390191" y="2913053"/>
                </a:cubicBezTo>
                <a:cubicBezTo>
                  <a:pt x="174694" y="2913053"/>
                  <a:pt x="0" y="2738359"/>
                  <a:pt x="0" y="2522862"/>
                </a:cubicBezTo>
                <a:close/>
              </a:path>
            </a:pathLst>
          </a:custGeom>
          <a:solidFill>
            <a:schemeClr val="accent1"/>
          </a:solidFill>
          <a:ln w="1270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lvl="0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F103DB20-CA44-5144-7694-2FBF81D0EACA}"/>
              </a:ext>
            </a:extLst>
          </p:cNvPr>
          <p:cNvSpPr/>
          <p:nvPr userDrawn="1"/>
        </p:nvSpPr>
        <p:spPr>
          <a:xfrm rot="2700000">
            <a:off x="11469147" y="2339446"/>
            <a:ext cx="1193519" cy="1550166"/>
          </a:xfrm>
          <a:custGeom>
            <a:avLst/>
            <a:gdLst>
              <a:gd name="connsiteX0" fmla="*/ 0 w 1193519"/>
              <a:gd name="connsiteY0" fmla="*/ 0 h 1550166"/>
              <a:gd name="connsiteX1" fmla="*/ 1193519 w 1193519"/>
              <a:gd name="connsiteY1" fmla="*/ 1193519 h 1550166"/>
              <a:gd name="connsiteX2" fmla="*/ 1150445 w 1193519"/>
              <a:gd name="connsiteY2" fmla="*/ 1272877 h 1550166"/>
              <a:gd name="connsiteX3" fmla="*/ 628928 w 1193519"/>
              <a:gd name="connsiteY3" fmla="*/ 1550166 h 1550166"/>
              <a:gd name="connsiteX4" fmla="*/ 0 w 1193519"/>
              <a:gd name="connsiteY4" fmla="*/ 921238 h 1550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3519" h="1550166">
                <a:moveTo>
                  <a:pt x="0" y="0"/>
                </a:moveTo>
                <a:lnTo>
                  <a:pt x="1193519" y="1193519"/>
                </a:lnTo>
                <a:lnTo>
                  <a:pt x="1150445" y="1272877"/>
                </a:lnTo>
                <a:cubicBezTo>
                  <a:pt x="1037422" y="1440173"/>
                  <a:pt x="846020" y="1550166"/>
                  <a:pt x="628928" y="1550166"/>
                </a:cubicBezTo>
                <a:cubicBezTo>
                  <a:pt x="281581" y="1550166"/>
                  <a:pt x="0" y="1268585"/>
                  <a:pt x="0" y="921238"/>
                </a:cubicBezTo>
                <a:close/>
              </a:path>
            </a:pathLst>
          </a:custGeom>
          <a:solidFill>
            <a:schemeClr val="accent5"/>
          </a:solidFill>
          <a:ln w="1270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lvl="0"/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42898322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6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5E971393-FE1D-3B6A-5952-3200539F4C21}"/>
              </a:ext>
            </a:extLst>
          </p:cNvPr>
          <p:cNvSpPr/>
          <p:nvPr userDrawn="1"/>
        </p:nvSpPr>
        <p:spPr>
          <a:xfrm rot="18900000">
            <a:off x="9590939" y="-1090570"/>
            <a:ext cx="3074362" cy="4401184"/>
          </a:xfrm>
          <a:custGeom>
            <a:avLst/>
            <a:gdLst>
              <a:gd name="connsiteX0" fmla="*/ 906398 w 3074362"/>
              <a:gd name="connsiteY0" fmla="*/ 0 h 4401184"/>
              <a:gd name="connsiteX1" fmla="*/ 3074362 w 3074362"/>
              <a:gd name="connsiteY1" fmla="*/ 2167965 h 4401184"/>
              <a:gd name="connsiteX2" fmla="*/ 841143 w 3074362"/>
              <a:gd name="connsiteY2" fmla="*/ 4401184 h 4401184"/>
              <a:gd name="connsiteX3" fmla="*/ 334666 w 3074362"/>
              <a:gd name="connsiteY3" fmla="*/ 4401184 h 4401184"/>
              <a:gd name="connsiteX4" fmla="*/ 0 w 3074362"/>
              <a:gd name="connsiteY4" fmla="*/ 4066518 h 4401184"/>
              <a:gd name="connsiteX5" fmla="*/ 0 w 3074362"/>
              <a:gd name="connsiteY5" fmla="*/ 334667 h 4401184"/>
              <a:gd name="connsiteX6" fmla="*/ 334666 w 3074362"/>
              <a:gd name="connsiteY6" fmla="*/ 0 h 44011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74362" h="4401184">
                <a:moveTo>
                  <a:pt x="906398" y="0"/>
                </a:moveTo>
                <a:lnTo>
                  <a:pt x="3074362" y="2167965"/>
                </a:lnTo>
                <a:lnTo>
                  <a:pt x="841143" y="4401184"/>
                </a:lnTo>
                <a:lnTo>
                  <a:pt x="334666" y="4401184"/>
                </a:lnTo>
                <a:cubicBezTo>
                  <a:pt x="149835" y="4401184"/>
                  <a:pt x="0" y="4251349"/>
                  <a:pt x="0" y="4066518"/>
                </a:cubicBezTo>
                <a:lnTo>
                  <a:pt x="0" y="334667"/>
                </a:lnTo>
                <a:cubicBezTo>
                  <a:pt x="0" y="149835"/>
                  <a:pt x="149835" y="0"/>
                  <a:pt x="334666" y="0"/>
                </a:cubicBezTo>
                <a:close/>
              </a:path>
            </a:pathLst>
          </a:custGeom>
          <a:solidFill>
            <a:srgbClr val="140B4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err="1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FA9D7148-A6F2-CBCC-1252-9028ED2C858C}"/>
              </a:ext>
            </a:extLst>
          </p:cNvPr>
          <p:cNvSpPr/>
          <p:nvPr userDrawn="1"/>
        </p:nvSpPr>
        <p:spPr>
          <a:xfrm rot="2700000">
            <a:off x="6613319" y="-912201"/>
            <a:ext cx="3072335" cy="3072335"/>
          </a:xfrm>
          <a:custGeom>
            <a:avLst/>
            <a:gdLst>
              <a:gd name="connsiteX0" fmla="*/ 0 w 2777410"/>
              <a:gd name="connsiteY0" fmla="*/ 1975810 h 2777410"/>
              <a:gd name="connsiteX1" fmla="*/ 1975810 w 2777410"/>
              <a:gd name="connsiteY1" fmla="*/ 0 h 2777410"/>
              <a:gd name="connsiteX2" fmla="*/ 2540164 w 2777410"/>
              <a:gd name="connsiteY2" fmla="*/ 0 h 2777410"/>
              <a:gd name="connsiteX3" fmla="*/ 2777410 w 2777410"/>
              <a:gd name="connsiteY3" fmla="*/ 237247 h 2777410"/>
              <a:gd name="connsiteX4" fmla="*/ 2777410 w 2777410"/>
              <a:gd name="connsiteY4" fmla="*/ 2540163 h 2777410"/>
              <a:gd name="connsiteX5" fmla="*/ 2540163 w 2777410"/>
              <a:gd name="connsiteY5" fmla="*/ 2777410 h 2777410"/>
              <a:gd name="connsiteX6" fmla="*/ 237247 w 2777410"/>
              <a:gd name="connsiteY6" fmla="*/ 2777410 h 2777410"/>
              <a:gd name="connsiteX7" fmla="*/ 0 w 2777410"/>
              <a:gd name="connsiteY7" fmla="*/ 2540163 h 2777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777410" h="2777410">
                <a:moveTo>
                  <a:pt x="0" y="1975810"/>
                </a:moveTo>
                <a:lnTo>
                  <a:pt x="1975810" y="0"/>
                </a:lnTo>
                <a:lnTo>
                  <a:pt x="2540164" y="0"/>
                </a:lnTo>
                <a:cubicBezTo>
                  <a:pt x="2671191" y="0"/>
                  <a:pt x="2777410" y="106219"/>
                  <a:pt x="2777410" y="237247"/>
                </a:cubicBezTo>
                <a:lnTo>
                  <a:pt x="2777410" y="2540163"/>
                </a:lnTo>
                <a:cubicBezTo>
                  <a:pt x="2777410" y="2671191"/>
                  <a:pt x="2671191" y="2777410"/>
                  <a:pt x="2540163" y="2777410"/>
                </a:cubicBezTo>
                <a:lnTo>
                  <a:pt x="237247" y="2777410"/>
                </a:lnTo>
                <a:cubicBezTo>
                  <a:pt x="106220" y="2777410"/>
                  <a:pt x="0" y="2671190"/>
                  <a:pt x="0" y="254016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50474CF-7CCB-20DD-E6E1-8A9CD0E038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1677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0474CF-7CCB-20DD-E6E1-8A9CD0E038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">
            <a:extLst>
              <a:ext uri="{FF2B5EF4-FFF2-40B4-BE49-F238E27FC236}">
                <a16:creationId xmlns:a16="http://schemas.microsoft.com/office/drawing/2014/main" id="{13DC1846-D39B-50FF-487A-FD15579093A3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613608" y="2049693"/>
            <a:ext cx="5593080" cy="2758614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  <p:sp>
        <p:nvSpPr>
          <p:cNvPr id="17" name="Freeform 7">
            <a:extLst>
              <a:ext uri="{FF2B5EF4-FFF2-40B4-BE49-F238E27FC236}">
                <a16:creationId xmlns:a16="http://schemas.microsoft.com/office/drawing/2014/main" id="{FA3B847E-CEDD-4F28-13DA-54DB86046169}"/>
              </a:ext>
            </a:extLst>
          </p:cNvPr>
          <p:cNvSpPr>
            <a:spLocks/>
          </p:cNvSpPr>
          <p:nvPr userDrawn="1"/>
        </p:nvSpPr>
        <p:spPr bwMode="auto">
          <a:xfrm rot="16200000">
            <a:off x="8579893" y="133677"/>
            <a:ext cx="2515488" cy="2515488"/>
          </a:xfrm>
          <a:custGeom>
            <a:avLst/>
            <a:gdLst>
              <a:gd name="T0" fmla="*/ 724 w 1691"/>
              <a:gd name="T1" fmla="*/ 1624 h 1691"/>
              <a:gd name="T2" fmla="*/ 67 w 1691"/>
              <a:gd name="T3" fmla="*/ 967 h 1691"/>
              <a:gd name="T4" fmla="*/ 67 w 1691"/>
              <a:gd name="T5" fmla="*/ 724 h 1691"/>
              <a:gd name="T6" fmla="*/ 724 w 1691"/>
              <a:gd name="T7" fmla="*/ 67 h 1691"/>
              <a:gd name="T8" fmla="*/ 967 w 1691"/>
              <a:gd name="T9" fmla="*/ 67 h 1691"/>
              <a:gd name="T10" fmla="*/ 1624 w 1691"/>
              <a:gd name="T11" fmla="*/ 724 h 1691"/>
              <a:gd name="T12" fmla="*/ 1624 w 1691"/>
              <a:gd name="T13" fmla="*/ 967 h 1691"/>
              <a:gd name="T14" fmla="*/ 967 w 1691"/>
              <a:gd name="T15" fmla="*/ 1624 h 1691"/>
              <a:gd name="T16" fmla="*/ 724 w 1691"/>
              <a:gd name="T17" fmla="*/ 1624 h 1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91" h="1691">
                <a:moveTo>
                  <a:pt x="724" y="1624"/>
                </a:moveTo>
                <a:cubicBezTo>
                  <a:pt x="67" y="967"/>
                  <a:pt x="67" y="967"/>
                  <a:pt x="67" y="967"/>
                </a:cubicBezTo>
                <a:cubicBezTo>
                  <a:pt x="0" y="900"/>
                  <a:pt x="0" y="791"/>
                  <a:pt x="67" y="724"/>
                </a:cubicBezTo>
                <a:cubicBezTo>
                  <a:pt x="724" y="67"/>
                  <a:pt x="724" y="67"/>
                  <a:pt x="724" y="67"/>
                </a:cubicBezTo>
                <a:cubicBezTo>
                  <a:pt x="791" y="0"/>
                  <a:pt x="900" y="0"/>
                  <a:pt x="967" y="67"/>
                </a:cubicBezTo>
                <a:cubicBezTo>
                  <a:pt x="1624" y="724"/>
                  <a:pt x="1624" y="724"/>
                  <a:pt x="1624" y="724"/>
                </a:cubicBezTo>
                <a:cubicBezTo>
                  <a:pt x="1691" y="791"/>
                  <a:pt x="1691" y="900"/>
                  <a:pt x="1624" y="967"/>
                </a:cubicBezTo>
                <a:cubicBezTo>
                  <a:pt x="967" y="1624"/>
                  <a:pt x="967" y="1624"/>
                  <a:pt x="967" y="1624"/>
                </a:cubicBezTo>
                <a:cubicBezTo>
                  <a:pt x="900" y="1691"/>
                  <a:pt x="791" y="1691"/>
                  <a:pt x="724" y="1624"/>
                </a:cubicBezTo>
                <a:close/>
              </a:path>
            </a:pathLst>
          </a:custGeom>
          <a:solidFill>
            <a:schemeClr val="accent1"/>
          </a:solidFill>
          <a:ln w="1270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AutoShape 3">
            <a:extLst>
              <a:ext uri="{FF2B5EF4-FFF2-40B4-BE49-F238E27FC236}">
                <a16:creationId xmlns:a16="http://schemas.microsoft.com/office/drawing/2014/main" id="{0BB57922-089B-617B-DB05-C881EA21986B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 rot="16200000">
            <a:off x="7666727" y="-76160"/>
            <a:ext cx="4560732" cy="4657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06C75E6-2F25-C869-52E2-8C5D355F51AF}"/>
              </a:ext>
            </a:extLst>
          </p:cNvPr>
          <p:cNvSpPr>
            <a:spLocks/>
          </p:cNvSpPr>
          <p:nvPr userDrawn="1"/>
        </p:nvSpPr>
        <p:spPr bwMode="auto">
          <a:xfrm rot="18900000">
            <a:off x="8399071" y="-1421668"/>
            <a:ext cx="2843336" cy="2843336"/>
          </a:xfrm>
          <a:custGeom>
            <a:avLst/>
            <a:gdLst>
              <a:gd name="connsiteX0" fmla="*/ 0 w 2843336"/>
              <a:gd name="connsiteY0" fmla="*/ 0 h 2843336"/>
              <a:gd name="connsiteX1" fmla="*/ 2843336 w 2843336"/>
              <a:gd name="connsiteY1" fmla="*/ 2843336 h 2843336"/>
              <a:gd name="connsiteX2" fmla="*/ 268488 w 2843336"/>
              <a:gd name="connsiteY2" fmla="*/ 2843336 h 2843336"/>
              <a:gd name="connsiteX3" fmla="*/ 0 w 2843336"/>
              <a:gd name="connsiteY3" fmla="*/ 2585131 h 2843336"/>
              <a:gd name="connsiteX0" fmla="*/ 2843336 w 2934776"/>
              <a:gd name="connsiteY0" fmla="*/ 2843336 h 2934776"/>
              <a:gd name="connsiteX1" fmla="*/ 268488 w 2934776"/>
              <a:gd name="connsiteY1" fmla="*/ 2843336 h 2934776"/>
              <a:gd name="connsiteX2" fmla="*/ 0 w 2934776"/>
              <a:gd name="connsiteY2" fmla="*/ 2585131 h 2934776"/>
              <a:gd name="connsiteX3" fmla="*/ 0 w 2934776"/>
              <a:gd name="connsiteY3" fmla="*/ 0 h 2934776"/>
              <a:gd name="connsiteX4" fmla="*/ 2934776 w 2934776"/>
              <a:gd name="connsiteY4" fmla="*/ 2934776 h 2934776"/>
              <a:gd name="connsiteX0" fmla="*/ 2843336 w 2843336"/>
              <a:gd name="connsiteY0" fmla="*/ 2843336 h 2843336"/>
              <a:gd name="connsiteX1" fmla="*/ 268488 w 2843336"/>
              <a:gd name="connsiteY1" fmla="*/ 2843336 h 2843336"/>
              <a:gd name="connsiteX2" fmla="*/ 0 w 2843336"/>
              <a:gd name="connsiteY2" fmla="*/ 2585131 h 2843336"/>
              <a:gd name="connsiteX3" fmla="*/ 0 w 2843336"/>
              <a:gd name="connsiteY3" fmla="*/ 0 h 28433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3336" h="2843336">
                <a:moveTo>
                  <a:pt x="2843336" y="2843336"/>
                </a:moveTo>
                <a:lnTo>
                  <a:pt x="268488" y="2843336"/>
                </a:lnTo>
                <a:cubicBezTo>
                  <a:pt x="120207" y="2843336"/>
                  <a:pt x="0" y="2727734"/>
                  <a:pt x="0" y="2585131"/>
                </a:cubicBez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6A10C533-42F2-F66F-9D74-979D4CA2EBD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5585" y="5760594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73182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7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>
            <a:extLst>
              <a:ext uri="{FF2B5EF4-FFF2-40B4-BE49-F238E27FC236}">
                <a16:creationId xmlns:a16="http://schemas.microsoft.com/office/drawing/2014/main" id="{9BE82380-4E70-46AE-92D4-098EF815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613608" y="1786095"/>
            <a:ext cx="5071843" cy="3285811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FD67CFEF-F865-1F9D-9E2C-67AFFAA0CE63}"/>
              </a:ext>
            </a:extLst>
          </p:cNvPr>
          <p:cNvSpPr/>
          <p:nvPr userDrawn="1"/>
        </p:nvSpPr>
        <p:spPr>
          <a:xfrm rot="900000">
            <a:off x="10293886" y="-208160"/>
            <a:ext cx="964663" cy="4890833"/>
          </a:xfrm>
          <a:custGeom>
            <a:avLst/>
            <a:gdLst>
              <a:gd name="connsiteX0" fmla="*/ 0 w 964663"/>
              <a:gd name="connsiteY0" fmla="*/ 258480 h 4890833"/>
              <a:gd name="connsiteX1" fmla="*/ 964663 w 964663"/>
              <a:gd name="connsiteY1" fmla="*/ 0 h 4890833"/>
              <a:gd name="connsiteX2" fmla="*/ 964663 w 964663"/>
              <a:gd name="connsiteY2" fmla="*/ 4408501 h 4890833"/>
              <a:gd name="connsiteX3" fmla="*/ 482331 w 964663"/>
              <a:gd name="connsiteY3" fmla="*/ 4890833 h 4890833"/>
              <a:gd name="connsiteX4" fmla="*/ 482332 w 964663"/>
              <a:gd name="connsiteY4" fmla="*/ 4890832 h 4890833"/>
              <a:gd name="connsiteX5" fmla="*/ 0 w 964663"/>
              <a:gd name="connsiteY5" fmla="*/ 4408500 h 48908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64663" h="4890833">
                <a:moveTo>
                  <a:pt x="0" y="258480"/>
                </a:moveTo>
                <a:lnTo>
                  <a:pt x="964663" y="0"/>
                </a:lnTo>
                <a:lnTo>
                  <a:pt x="964663" y="4408501"/>
                </a:lnTo>
                <a:cubicBezTo>
                  <a:pt x="964663" y="4674886"/>
                  <a:pt x="748716" y="4890833"/>
                  <a:pt x="482331" y="4890833"/>
                </a:cubicBezTo>
                <a:lnTo>
                  <a:pt x="482332" y="4890832"/>
                </a:lnTo>
                <a:cubicBezTo>
                  <a:pt x="215947" y="4890832"/>
                  <a:pt x="0" y="4674885"/>
                  <a:pt x="0" y="4408500"/>
                </a:cubicBezTo>
                <a:close/>
              </a:path>
            </a:pathLst>
          </a:custGeom>
          <a:solidFill>
            <a:srgbClr val="00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DBD764AA-01FA-C186-C3E0-47B71F33D2FE}"/>
              </a:ext>
            </a:extLst>
          </p:cNvPr>
          <p:cNvSpPr/>
          <p:nvPr userDrawn="1"/>
        </p:nvSpPr>
        <p:spPr>
          <a:xfrm rot="900000">
            <a:off x="10213216" y="2788075"/>
            <a:ext cx="964664" cy="4267468"/>
          </a:xfrm>
          <a:custGeom>
            <a:avLst/>
            <a:gdLst>
              <a:gd name="connsiteX0" fmla="*/ 385125 w 964664"/>
              <a:gd name="connsiteY0" fmla="*/ 9799 h 4267468"/>
              <a:gd name="connsiteX1" fmla="*/ 482332 w 964664"/>
              <a:gd name="connsiteY1" fmla="*/ 0 h 4267468"/>
              <a:gd name="connsiteX2" fmla="*/ 964664 w 964664"/>
              <a:gd name="connsiteY2" fmla="*/ 482332 h 4267468"/>
              <a:gd name="connsiteX3" fmla="*/ 964663 w 964664"/>
              <a:gd name="connsiteY3" fmla="*/ 4008987 h 4267468"/>
              <a:gd name="connsiteX4" fmla="*/ 0 w 964664"/>
              <a:gd name="connsiteY4" fmla="*/ 4267468 h 4267468"/>
              <a:gd name="connsiteX5" fmla="*/ 0 w 964664"/>
              <a:gd name="connsiteY5" fmla="*/ 482332 h 4267468"/>
              <a:gd name="connsiteX6" fmla="*/ 385125 w 964664"/>
              <a:gd name="connsiteY6" fmla="*/ 9799 h 4267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64664" h="4267468">
                <a:moveTo>
                  <a:pt x="385125" y="9799"/>
                </a:moveTo>
                <a:cubicBezTo>
                  <a:pt x="416524" y="3374"/>
                  <a:pt x="449033" y="0"/>
                  <a:pt x="482332" y="0"/>
                </a:cubicBezTo>
                <a:cubicBezTo>
                  <a:pt x="748717" y="0"/>
                  <a:pt x="964664" y="215947"/>
                  <a:pt x="964664" y="482332"/>
                </a:cubicBezTo>
                <a:lnTo>
                  <a:pt x="964663" y="4008987"/>
                </a:lnTo>
                <a:lnTo>
                  <a:pt x="0" y="4267468"/>
                </a:lnTo>
                <a:lnTo>
                  <a:pt x="0" y="482332"/>
                </a:lnTo>
                <a:cubicBezTo>
                  <a:pt x="0" y="249245"/>
                  <a:pt x="165334" y="54775"/>
                  <a:pt x="385125" y="9799"/>
                </a:cubicBezTo>
                <a:close/>
              </a:path>
            </a:pathLst>
          </a:custGeom>
          <a:solidFill>
            <a:srgbClr val="140B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6F09451-D001-7FD7-10AE-3FDD420C1A42}"/>
              </a:ext>
            </a:extLst>
          </p:cNvPr>
          <p:cNvCxnSpPr>
            <a:cxnSpLocks/>
          </p:cNvCxnSpPr>
          <p:nvPr userDrawn="1"/>
        </p:nvCxnSpPr>
        <p:spPr>
          <a:xfrm flipH="1">
            <a:off x="9810345" y="1"/>
            <a:ext cx="1794438" cy="6858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21C1E0A2-F05B-FF80-96D1-66F6D9FFBB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3330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72791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4-04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C9141FD9-B1AB-9467-AE12-61BD0B9D329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BA3E6B8-401F-4894-EFB9-D9735958D8E8}"/>
              </a:ext>
            </a:extLst>
          </p:cNvPr>
          <p:cNvSpPr/>
          <p:nvPr userDrawn="1"/>
        </p:nvSpPr>
        <p:spPr>
          <a:xfrm rot="2700000">
            <a:off x="9723652" y="4718086"/>
            <a:ext cx="1514141" cy="3134243"/>
          </a:xfrm>
          <a:custGeom>
            <a:avLst/>
            <a:gdLst>
              <a:gd name="connsiteX0" fmla="*/ 0 w 1514141"/>
              <a:gd name="connsiteY0" fmla="*/ 1514140 h 3134243"/>
              <a:gd name="connsiteX1" fmla="*/ 1514140 w 1514141"/>
              <a:gd name="connsiteY1" fmla="*/ 0 h 3134243"/>
              <a:gd name="connsiteX2" fmla="*/ 1514141 w 1514141"/>
              <a:gd name="connsiteY2" fmla="*/ 1620102 h 3134243"/>
              <a:gd name="connsiteX3" fmla="*/ 0 w 1514141"/>
              <a:gd name="connsiteY3" fmla="*/ 3134243 h 3134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4141" h="3134243">
                <a:moveTo>
                  <a:pt x="0" y="1514140"/>
                </a:moveTo>
                <a:lnTo>
                  <a:pt x="1514140" y="0"/>
                </a:lnTo>
                <a:lnTo>
                  <a:pt x="1514141" y="1620102"/>
                </a:lnTo>
                <a:lnTo>
                  <a:pt x="0" y="3134243"/>
                </a:lnTo>
                <a:close/>
              </a:path>
            </a:pathLst>
          </a:custGeom>
          <a:solidFill>
            <a:srgbClr val="7FD1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sp>
        <p:nvSpPr>
          <p:cNvPr id="10" name="Rectangle: Top Corners Rounded 9">
            <a:extLst>
              <a:ext uri="{FF2B5EF4-FFF2-40B4-BE49-F238E27FC236}">
                <a16:creationId xmlns:a16="http://schemas.microsoft.com/office/drawing/2014/main" id="{0B254E66-5B23-8376-EA6C-51BA078AD05B}"/>
              </a:ext>
            </a:extLst>
          </p:cNvPr>
          <p:cNvSpPr/>
          <p:nvPr userDrawn="1"/>
        </p:nvSpPr>
        <p:spPr>
          <a:xfrm rot="13500000">
            <a:off x="9484269" y="5130635"/>
            <a:ext cx="651476" cy="1447800"/>
          </a:xfrm>
          <a:prstGeom prst="round2SameRect">
            <a:avLst>
              <a:gd name="adj1" fmla="val 50000"/>
              <a:gd name="adj2" fmla="val 0"/>
            </a:avLst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C8B1F425-7FCC-95EC-889D-1C469BA8156D}"/>
              </a:ext>
            </a:extLst>
          </p:cNvPr>
          <p:cNvSpPr/>
          <p:nvPr userDrawn="1"/>
        </p:nvSpPr>
        <p:spPr>
          <a:xfrm rot="2700000">
            <a:off x="8432799" y="-404009"/>
            <a:ext cx="1987250" cy="6522188"/>
          </a:xfrm>
          <a:custGeom>
            <a:avLst/>
            <a:gdLst>
              <a:gd name="connsiteX0" fmla="*/ 291026 w 1987250"/>
              <a:gd name="connsiteY0" fmla="*/ 291026 h 6522188"/>
              <a:gd name="connsiteX1" fmla="*/ 993625 w 1987250"/>
              <a:gd name="connsiteY1" fmla="*/ 0 h 6522188"/>
              <a:gd name="connsiteX2" fmla="*/ 1987250 w 1987250"/>
              <a:gd name="connsiteY2" fmla="*/ 993625 h 6522188"/>
              <a:gd name="connsiteX3" fmla="*/ 1987250 w 1987250"/>
              <a:gd name="connsiteY3" fmla="*/ 5536869 h 6522188"/>
              <a:gd name="connsiteX4" fmla="*/ 1001931 w 1987250"/>
              <a:gd name="connsiteY4" fmla="*/ 6522188 h 6522188"/>
              <a:gd name="connsiteX5" fmla="*/ 0 w 1987250"/>
              <a:gd name="connsiteY5" fmla="*/ 5520256 h 6522188"/>
              <a:gd name="connsiteX6" fmla="*/ 0 w 1987250"/>
              <a:gd name="connsiteY6" fmla="*/ 993625 h 6522188"/>
              <a:gd name="connsiteX7" fmla="*/ 291026 w 1987250"/>
              <a:gd name="connsiteY7" fmla="*/ 291026 h 652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87250" h="6522188">
                <a:moveTo>
                  <a:pt x="291026" y="291026"/>
                </a:moveTo>
                <a:cubicBezTo>
                  <a:pt x="470837" y="111215"/>
                  <a:pt x="719243" y="0"/>
                  <a:pt x="993625" y="0"/>
                </a:cubicBezTo>
                <a:cubicBezTo>
                  <a:pt x="1542389" y="0"/>
                  <a:pt x="1987250" y="444861"/>
                  <a:pt x="1987250" y="993625"/>
                </a:cubicBezTo>
                <a:lnTo>
                  <a:pt x="1987250" y="5536869"/>
                </a:lnTo>
                <a:lnTo>
                  <a:pt x="1001931" y="6522188"/>
                </a:lnTo>
                <a:lnTo>
                  <a:pt x="0" y="5520256"/>
                </a:lnTo>
                <a:lnTo>
                  <a:pt x="0" y="993625"/>
                </a:lnTo>
                <a:cubicBezTo>
                  <a:pt x="0" y="719243"/>
                  <a:pt x="111216" y="470837"/>
                  <a:pt x="291026" y="29102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11" name="Rectangle: Top Corners Rounded 10">
            <a:extLst>
              <a:ext uri="{FF2B5EF4-FFF2-40B4-BE49-F238E27FC236}">
                <a16:creationId xmlns:a16="http://schemas.microsoft.com/office/drawing/2014/main" id="{D3108861-7328-DB12-4F81-BB23B928A631}"/>
              </a:ext>
            </a:extLst>
          </p:cNvPr>
          <p:cNvSpPr/>
          <p:nvPr userDrawn="1"/>
        </p:nvSpPr>
        <p:spPr>
          <a:xfrm rot="2700000">
            <a:off x="9121183" y="103638"/>
            <a:ext cx="651476" cy="2492719"/>
          </a:xfrm>
          <a:prstGeom prst="round2SameRect">
            <a:avLst>
              <a:gd name="adj1" fmla="val 50000"/>
              <a:gd name="adj2" fmla="val 0"/>
            </a:avLst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323CF0F-9A82-87BC-E359-747ED7A2C5ED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1709"/>
          <a:stretch/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EF0DFE2A-76D5-74DB-5A41-BA634A097E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5847081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B02D114-3397-DC1A-7731-F1F0FFF234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5847081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C279139-E1CD-417D-F2DC-0ECDF9271B9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4983481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795ADEF-DFE7-7A95-ACDE-93A739BB8442}"/>
              </a:ext>
            </a:extLst>
          </p:cNvPr>
          <p:cNvSpPr txBox="1"/>
          <p:nvPr userDrawn="1"/>
        </p:nvSpPr>
        <p:spPr bwMode="black">
          <a:xfrm>
            <a:off x="613608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7BE79103-E87B-C357-DC48-0711CA04F40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69100" y="1511300"/>
            <a:ext cx="5422900" cy="4267200"/>
          </a:xfrm>
          <a:custGeom>
            <a:avLst/>
            <a:gdLst>
              <a:gd name="connsiteX0" fmla="*/ 374319 w 5422900"/>
              <a:gd name="connsiteY0" fmla="*/ 0 h 4267200"/>
              <a:gd name="connsiteX1" fmla="*/ 5422900 w 5422900"/>
              <a:gd name="connsiteY1" fmla="*/ 0 h 4267200"/>
              <a:gd name="connsiteX2" fmla="*/ 5422900 w 5422900"/>
              <a:gd name="connsiteY2" fmla="*/ 4267200 h 4267200"/>
              <a:gd name="connsiteX3" fmla="*/ 374319 w 5422900"/>
              <a:gd name="connsiteY3" fmla="*/ 4267200 h 4267200"/>
              <a:gd name="connsiteX4" fmla="*/ 0 w 5422900"/>
              <a:gd name="connsiteY4" fmla="*/ 3892881 h 4267200"/>
              <a:gd name="connsiteX5" fmla="*/ 0 w 5422900"/>
              <a:gd name="connsiteY5" fmla="*/ 374319 h 4267200"/>
              <a:gd name="connsiteX6" fmla="*/ 374319 w 5422900"/>
              <a:gd name="connsiteY6" fmla="*/ 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22900" h="4267200">
                <a:moveTo>
                  <a:pt x="374319" y="0"/>
                </a:moveTo>
                <a:lnTo>
                  <a:pt x="5422900" y="0"/>
                </a:lnTo>
                <a:lnTo>
                  <a:pt x="5422900" y="4267200"/>
                </a:lnTo>
                <a:lnTo>
                  <a:pt x="374319" y="4267200"/>
                </a:lnTo>
                <a:cubicBezTo>
                  <a:pt x="167588" y="4267200"/>
                  <a:pt x="0" y="4099612"/>
                  <a:pt x="0" y="3892881"/>
                </a:cubicBezTo>
                <a:lnTo>
                  <a:pt x="0" y="374319"/>
                </a:lnTo>
                <a:cubicBezTo>
                  <a:pt x="0" y="167588"/>
                  <a:pt x="167588" y="0"/>
                  <a:pt x="374319" y="0"/>
                </a:cubicBez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800" b="0">
                <a:solidFill>
                  <a:srgbClr val="FF0000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solidFill>
                  <a:srgbClr val="FF0000"/>
                </a:solidFill>
              </a:rPr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8370258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2024-05- IQVIA">
    <p:bg>
      <p:bgPr>
        <a:gradFill>
          <a:gsLst>
            <a:gs pos="20000">
              <a:schemeClr val="accent2"/>
            </a:gs>
            <a:gs pos="8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BD574E3-8AFF-DFA9-0FCB-ACE4DACD25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2691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574E3-8AFF-DFA9-0FCB-ACE4DACD25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21604DCE-2860-47E1-9A45-B850AE2D52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3608" y="3681765"/>
            <a:ext cx="5368925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rgbClr val="BFE8F7"/>
                </a:solidFill>
              </a:defRPr>
            </a:lvl1pPr>
          </a:lstStyle>
          <a:p>
            <a:pPr lvl="0"/>
            <a:r>
              <a:rPr lang="en-US"/>
              <a:t>Subheads are 24pt Arial Italic sentence case and can be 2 lines.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A4E4609-F19E-4DD3-A900-7CA905D6E6D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517515"/>
            <a:ext cx="5482392" cy="1996373"/>
          </a:xfrm>
          <a:prstGeom prst="rect">
            <a:avLst/>
          </a:prstGeom>
        </p:spPr>
        <p:txBody>
          <a:bodyPr vert="horz"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Title Case Should Be No More Than 2 Lines</a:t>
            </a:r>
          </a:p>
        </p:txBody>
      </p:sp>
      <p:sp>
        <p:nvSpPr>
          <p:cNvPr id="73" name="Subtitle 2">
            <a:extLst>
              <a:ext uri="{FF2B5EF4-FFF2-40B4-BE49-F238E27FC236}">
                <a16:creationId xmlns:a16="http://schemas.microsoft.com/office/drawing/2014/main" id="{BB2AC513-3F13-403A-8294-79335D9E76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5368925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0A1AF0D6-51EF-1945-B4E8-68EF85E87DF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43330" y="735457"/>
            <a:ext cx="2247900" cy="4064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274DE7C-EAB9-6B9B-19AB-DEFA4EF622D3}"/>
              </a:ext>
            </a:extLst>
          </p:cNvPr>
          <p:cNvSpPr txBox="1"/>
          <p:nvPr userDrawn="1"/>
        </p:nvSpPr>
        <p:spPr bwMode="black">
          <a:xfrm>
            <a:off x="613608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24A7E03-2DC4-A20C-610D-3801615F1648}"/>
              </a:ext>
            </a:extLst>
          </p:cNvPr>
          <p:cNvSpPr>
            <a:spLocks/>
          </p:cNvSpPr>
          <p:nvPr userDrawn="1"/>
        </p:nvSpPr>
        <p:spPr bwMode="auto">
          <a:xfrm>
            <a:off x="5476875" y="3219450"/>
            <a:ext cx="6711950" cy="3638550"/>
          </a:xfrm>
          <a:custGeom>
            <a:avLst/>
            <a:gdLst>
              <a:gd name="T0" fmla="*/ 2114 w 2114"/>
              <a:gd name="T1" fmla="*/ 869 h 1146"/>
              <a:gd name="T2" fmla="*/ 1306 w 2114"/>
              <a:gd name="T3" fmla="*/ 61 h 1146"/>
              <a:gd name="T4" fmla="*/ 1085 w 2114"/>
              <a:gd name="T5" fmla="*/ 61 h 1146"/>
              <a:gd name="T6" fmla="*/ 0 w 2114"/>
              <a:gd name="T7" fmla="*/ 1146 h 1146"/>
              <a:gd name="T8" fmla="*/ 2114 w 2114"/>
              <a:gd name="T9" fmla="*/ 1146 h 1146"/>
              <a:gd name="T10" fmla="*/ 2114 w 2114"/>
              <a:gd name="T11" fmla="*/ 869 h 1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114" h="1146">
                <a:moveTo>
                  <a:pt x="2114" y="869"/>
                </a:moveTo>
                <a:cubicBezTo>
                  <a:pt x="1306" y="61"/>
                  <a:pt x="1306" y="61"/>
                  <a:pt x="1306" y="61"/>
                </a:cubicBezTo>
                <a:cubicBezTo>
                  <a:pt x="1245" y="0"/>
                  <a:pt x="1146" y="0"/>
                  <a:pt x="1085" y="61"/>
                </a:cubicBezTo>
                <a:cubicBezTo>
                  <a:pt x="0" y="1146"/>
                  <a:pt x="0" y="1146"/>
                  <a:pt x="0" y="1146"/>
                </a:cubicBezTo>
                <a:cubicBezTo>
                  <a:pt x="2114" y="1146"/>
                  <a:pt x="2114" y="1146"/>
                  <a:pt x="2114" y="1146"/>
                </a:cubicBezTo>
                <a:lnTo>
                  <a:pt x="2114" y="869"/>
                </a:lnTo>
                <a:close/>
              </a:path>
            </a:pathLst>
          </a:custGeom>
          <a:solidFill>
            <a:srgbClr val="140B4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0A85C50D-2AD0-37F1-6186-64FDA03CDB34}"/>
              </a:ext>
            </a:extLst>
          </p:cNvPr>
          <p:cNvSpPr/>
          <p:nvPr userDrawn="1"/>
        </p:nvSpPr>
        <p:spPr>
          <a:xfrm rot="2700000">
            <a:off x="7798710" y="-28189"/>
            <a:ext cx="6936059" cy="4323614"/>
          </a:xfrm>
          <a:custGeom>
            <a:avLst/>
            <a:gdLst>
              <a:gd name="connsiteX0" fmla="*/ 0 w 6936059"/>
              <a:gd name="connsiteY0" fmla="*/ 2612445 h 4323614"/>
              <a:gd name="connsiteX1" fmla="*/ 2612445 w 6936059"/>
              <a:gd name="connsiteY1" fmla="*/ 0 h 4323614"/>
              <a:gd name="connsiteX2" fmla="*/ 6936059 w 6936059"/>
              <a:gd name="connsiteY2" fmla="*/ 4323614 h 4323614"/>
              <a:gd name="connsiteX3" fmla="*/ 492439 w 6936059"/>
              <a:gd name="connsiteY3" fmla="*/ 4323614 h 4323614"/>
              <a:gd name="connsiteX4" fmla="*/ 0 w 6936059"/>
              <a:gd name="connsiteY4" fmla="*/ 3831175 h 4323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36059" h="4323614">
                <a:moveTo>
                  <a:pt x="0" y="2612445"/>
                </a:moveTo>
                <a:lnTo>
                  <a:pt x="2612445" y="0"/>
                </a:lnTo>
                <a:lnTo>
                  <a:pt x="6936059" y="4323614"/>
                </a:lnTo>
                <a:lnTo>
                  <a:pt x="492439" y="4323614"/>
                </a:lnTo>
                <a:cubicBezTo>
                  <a:pt x="220472" y="4323614"/>
                  <a:pt x="1" y="4103142"/>
                  <a:pt x="0" y="3831175"/>
                </a:cubicBezTo>
                <a:close/>
              </a:path>
            </a:pathLst>
          </a:custGeom>
          <a:solidFill>
            <a:srgbClr val="00CC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0" name="Freeform 7">
            <a:extLst>
              <a:ext uri="{FF2B5EF4-FFF2-40B4-BE49-F238E27FC236}">
                <a16:creationId xmlns:a16="http://schemas.microsoft.com/office/drawing/2014/main" id="{FF7F7C58-163F-1881-E4D5-96FE1EF56D83}"/>
              </a:ext>
            </a:extLst>
          </p:cNvPr>
          <p:cNvSpPr>
            <a:spLocks/>
          </p:cNvSpPr>
          <p:nvPr userDrawn="1"/>
        </p:nvSpPr>
        <p:spPr bwMode="auto">
          <a:xfrm>
            <a:off x="6511925" y="737524"/>
            <a:ext cx="5368925" cy="5368925"/>
          </a:xfrm>
          <a:custGeom>
            <a:avLst/>
            <a:gdLst>
              <a:gd name="T0" fmla="*/ 724 w 1691"/>
              <a:gd name="T1" fmla="*/ 1624 h 1691"/>
              <a:gd name="T2" fmla="*/ 67 w 1691"/>
              <a:gd name="T3" fmla="*/ 967 h 1691"/>
              <a:gd name="T4" fmla="*/ 67 w 1691"/>
              <a:gd name="T5" fmla="*/ 724 h 1691"/>
              <a:gd name="T6" fmla="*/ 724 w 1691"/>
              <a:gd name="T7" fmla="*/ 67 h 1691"/>
              <a:gd name="T8" fmla="*/ 967 w 1691"/>
              <a:gd name="T9" fmla="*/ 67 h 1691"/>
              <a:gd name="T10" fmla="*/ 1624 w 1691"/>
              <a:gd name="T11" fmla="*/ 724 h 1691"/>
              <a:gd name="T12" fmla="*/ 1624 w 1691"/>
              <a:gd name="T13" fmla="*/ 967 h 1691"/>
              <a:gd name="T14" fmla="*/ 967 w 1691"/>
              <a:gd name="T15" fmla="*/ 1624 h 1691"/>
              <a:gd name="T16" fmla="*/ 724 w 1691"/>
              <a:gd name="T17" fmla="*/ 1624 h 1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91" h="1691">
                <a:moveTo>
                  <a:pt x="724" y="1624"/>
                </a:moveTo>
                <a:cubicBezTo>
                  <a:pt x="67" y="967"/>
                  <a:pt x="67" y="967"/>
                  <a:pt x="67" y="967"/>
                </a:cubicBezTo>
                <a:cubicBezTo>
                  <a:pt x="0" y="900"/>
                  <a:pt x="0" y="791"/>
                  <a:pt x="67" y="724"/>
                </a:cubicBezTo>
                <a:cubicBezTo>
                  <a:pt x="724" y="67"/>
                  <a:pt x="724" y="67"/>
                  <a:pt x="724" y="67"/>
                </a:cubicBezTo>
                <a:cubicBezTo>
                  <a:pt x="791" y="0"/>
                  <a:pt x="900" y="0"/>
                  <a:pt x="967" y="67"/>
                </a:cubicBezTo>
                <a:cubicBezTo>
                  <a:pt x="1624" y="724"/>
                  <a:pt x="1624" y="724"/>
                  <a:pt x="1624" y="724"/>
                </a:cubicBezTo>
                <a:cubicBezTo>
                  <a:pt x="1691" y="791"/>
                  <a:pt x="1691" y="900"/>
                  <a:pt x="1624" y="967"/>
                </a:cubicBezTo>
                <a:cubicBezTo>
                  <a:pt x="967" y="1624"/>
                  <a:pt x="967" y="1624"/>
                  <a:pt x="967" y="1624"/>
                </a:cubicBezTo>
                <a:cubicBezTo>
                  <a:pt x="900" y="1691"/>
                  <a:pt x="791" y="1691"/>
                  <a:pt x="724" y="1624"/>
                </a:cubicBezTo>
                <a:close/>
              </a:path>
            </a:pathLst>
          </a:custGeom>
          <a:solidFill>
            <a:srgbClr val="005587"/>
          </a:solidFill>
          <a:ln w="1270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EB7ADD5B-1EFD-EE84-83C7-4F7CA369A2B9}"/>
              </a:ext>
            </a:extLst>
          </p:cNvPr>
          <p:cNvSpPr/>
          <p:nvPr userDrawn="1"/>
        </p:nvSpPr>
        <p:spPr>
          <a:xfrm rot="2700000">
            <a:off x="9656180" y="878325"/>
            <a:ext cx="4632172" cy="5087323"/>
          </a:xfrm>
          <a:custGeom>
            <a:avLst/>
            <a:gdLst>
              <a:gd name="connsiteX0" fmla="*/ 0 w 4724357"/>
              <a:gd name="connsiteY0" fmla="*/ 0 h 4945592"/>
              <a:gd name="connsiteX1" fmla="*/ 4724357 w 4724357"/>
              <a:gd name="connsiteY1" fmla="*/ 4724357 h 4945592"/>
              <a:gd name="connsiteX2" fmla="*/ 4503122 w 4724357"/>
              <a:gd name="connsiteY2" fmla="*/ 4945592 h 4945592"/>
              <a:gd name="connsiteX3" fmla="*/ 607510 w 4724357"/>
              <a:gd name="connsiteY3" fmla="*/ 4945592 h 4945592"/>
              <a:gd name="connsiteX4" fmla="*/ 0 w 4724357"/>
              <a:gd name="connsiteY4" fmla="*/ 4338082 h 4945592"/>
              <a:gd name="connsiteX0" fmla="*/ 4724357 w 4815797"/>
              <a:gd name="connsiteY0" fmla="*/ 4724357 h 4945592"/>
              <a:gd name="connsiteX1" fmla="*/ 4503122 w 4815797"/>
              <a:gd name="connsiteY1" fmla="*/ 4945592 h 4945592"/>
              <a:gd name="connsiteX2" fmla="*/ 607510 w 4815797"/>
              <a:gd name="connsiteY2" fmla="*/ 4945592 h 4945592"/>
              <a:gd name="connsiteX3" fmla="*/ 0 w 4815797"/>
              <a:gd name="connsiteY3" fmla="*/ 4338082 h 4945592"/>
              <a:gd name="connsiteX4" fmla="*/ 0 w 4815797"/>
              <a:gd name="connsiteY4" fmla="*/ 0 h 4945592"/>
              <a:gd name="connsiteX5" fmla="*/ 4815797 w 4815797"/>
              <a:gd name="connsiteY5" fmla="*/ 4815797 h 4945592"/>
              <a:gd name="connsiteX0" fmla="*/ 4724357 w 4724357"/>
              <a:gd name="connsiteY0" fmla="*/ 4724357 h 4945592"/>
              <a:gd name="connsiteX1" fmla="*/ 4503122 w 4724357"/>
              <a:gd name="connsiteY1" fmla="*/ 4945592 h 4945592"/>
              <a:gd name="connsiteX2" fmla="*/ 607510 w 4724357"/>
              <a:gd name="connsiteY2" fmla="*/ 4945592 h 4945592"/>
              <a:gd name="connsiteX3" fmla="*/ 0 w 4724357"/>
              <a:gd name="connsiteY3" fmla="*/ 4338082 h 4945592"/>
              <a:gd name="connsiteX4" fmla="*/ 0 w 4724357"/>
              <a:gd name="connsiteY4" fmla="*/ 0 h 4945592"/>
              <a:gd name="connsiteX0" fmla="*/ 4503122 w 4503122"/>
              <a:gd name="connsiteY0" fmla="*/ 4945592 h 4945592"/>
              <a:gd name="connsiteX1" fmla="*/ 607510 w 4503122"/>
              <a:gd name="connsiteY1" fmla="*/ 4945592 h 4945592"/>
              <a:gd name="connsiteX2" fmla="*/ 0 w 4503122"/>
              <a:gd name="connsiteY2" fmla="*/ 4338082 h 4945592"/>
              <a:gd name="connsiteX3" fmla="*/ 0 w 4503122"/>
              <a:gd name="connsiteY3" fmla="*/ 0 h 4945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03122" h="4945592">
                <a:moveTo>
                  <a:pt x="4503122" y="4945592"/>
                </a:moveTo>
                <a:lnTo>
                  <a:pt x="607510" y="4945592"/>
                </a:lnTo>
                <a:cubicBezTo>
                  <a:pt x="271991" y="4945592"/>
                  <a:pt x="0" y="4673601"/>
                  <a:pt x="0" y="4338082"/>
                </a:cubicBez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103610861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4-06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F39C5FB-65B4-C908-855D-2728400F9ED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kern="0" cap="none" spc="0" normalizeH="0" baseline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25B56EBA-448E-C7D0-100C-AD7974D3F94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3608" y="3681765"/>
            <a:ext cx="7029069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rgbClr val="BFE8F7"/>
                </a:solidFill>
              </a:defRPr>
            </a:lvl1pPr>
          </a:lstStyle>
          <a:p>
            <a:pPr lvl="0"/>
            <a:r>
              <a:rPr lang="en-US"/>
              <a:t>Subheads are 24pt Arial Italic sentence case and can be 2 lines.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4952327-FD57-A506-881F-6BEC092B82E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517515"/>
            <a:ext cx="7029069" cy="1996373"/>
          </a:xfrm>
          <a:prstGeom prst="rect">
            <a:avLst/>
          </a:prstGeom>
        </p:spPr>
        <p:txBody>
          <a:bodyPr vert="horz"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Title Case Should Be No More Than 2 Lines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5258D62-E26A-940F-71AE-1DB66927743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406884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56E6678B-F1D2-BAA4-8C13-157EDC2579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3330" y="735457"/>
            <a:ext cx="2247900" cy="4064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CDB5FAB4-46B6-F50F-3686-3A652C917D56}"/>
              </a:ext>
            </a:extLst>
          </p:cNvPr>
          <p:cNvSpPr txBox="1"/>
          <p:nvPr userDrawn="1"/>
        </p:nvSpPr>
        <p:spPr bwMode="black">
          <a:xfrm>
            <a:off x="613608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DE6A72EF-4ACE-0FB5-78CD-8CB5D25D38CD}"/>
              </a:ext>
            </a:extLst>
          </p:cNvPr>
          <p:cNvSpPr/>
          <p:nvPr userDrawn="1"/>
        </p:nvSpPr>
        <p:spPr>
          <a:xfrm rot="900000">
            <a:off x="8679642" y="590047"/>
            <a:ext cx="1209408" cy="6535813"/>
          </a:xfrm>
          <a:custGeom>
            <a:avLst/>
            <a:gdLst>
              <a:gd name="connsiteX0" fmla="*/ 482835 w 1209408"/>
              <a:gd name="connsiteY0" fmla="*/ 12286 h 6535813"/>
              <a:gd name="connsiteX1" fmla="*/ 604704 w 1209408"/>
              <a:gd name="connsiteY1" fmla="*/ 0 h 6535813"/>
              <a:gd name="connsiteX2" fmla="*/ 1209408 w 1209408"/>
              <a:gd name="connsiteY2" fmla="*/ 604704 h 6535813"/>
              <a:gd name="connsiteX3" fmla="*/ 1209408 w 1209408"/>
              <a:gd name="connsiteY3" fmla="*/ 6211754 h 6535813"/>
              <a:gd name="connsiteX4" fmla="*/ 0 w 1209408"/>
              <a:gd name="connsiteY4" fmla="*/ 6535813 h 6535813"/>
              <a:gd name="connsiteX5" fmla="*/ 0 w 1209408"/>
              <a:gd name="connsiteY5" fmla="*/ 604704 h 6535813"/>
              <a:gd name="connsiteX6" fmla="*/ 482835 w 1209408"/>
              <a:gd name="connsiteY6" fmla="*/ 12286 h 6535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09408" h="6535813">
                <a:moveTo>
                  <a:pt x="482835" y="12286"/>
                </a:moveTo>
                <a:cubicBezTo>
                  <a:pt x="522200" y="4230"/>
                  <a:pt x="562958" y="0"/>
                  <a:pt x="604704" y="0"/>
                </a:cubicBezTo>
                <a:cubicBezTo>
                  <a:pt x="938673" y="0"/>
                  <a:pt x="1209408" y="270735"/>
                  <a:pt x="1209408" y="604704"/>
                </a:cubicBezTo>
                <a:lnTo>
                  <a:pt x="1209408" y="6211754"/>
                </a:lnTo>
                <a:lnTo>
                  <a:pt x="0" y="6535813"/>
                </a:lnTo>
                <a:lnTo>
                  <a:pt x="0" y="604704"/>
                </a:lnTo>
                <a:cubicBezTo>
                  <a:pt x="0" y="312481"/>
                  <a:pt x="207282" y="68672"/>
                  <a:pt x="482835" y="12286"/>
                </a:cubicBezTo>
                <a:close/>
              </a:path>
            </a:pathLst>
          </a:custGeom>
          <a:solidFill>
            <a:srgbClr val="00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EA260F01-821A-E0DB-A6B1-B66100FC4906}"/>
              </a:ext>
            </a:extLst>
          </p:cNvPr>
          <p:cNvSpPr/>
          <p:nvPr userDrawn="1"/>
        </p:nvSpPr>
        <p:spPr>
          <a:xfrm rot="900000">
            <a:off x="10876535" y="3369355"/>
            <a:ext cx="737236" cy="3646170"/>
          </a:xfrm>
          <a:custGeom>
            <a:avLst/>
            <a:gdLst>
              <a:gd name="connsiteX0" fmla="*/ 294329 w 737236"/>
              <a:gd name="connsiteY0" fmla="*/ 7489 h 3646170"/>
              <a:gd name="connsiteX1" fmla="*/ 368618 w 737236"/>
              <a:gd name="connsiteY1" fmla="*/ 0 h 3646170"/>
              <a:gd name="connsiteX2" fmla="*/ 737236 w 737236"/>
              <a:gd name="connsiteY2" fmla="*/ 368618 h 3646170"/>
              <a:gd name="connsiteX3" fmla="*/ 737235 w 737236"/>
              <a:gd name="connsiteY3" fmla="*/ 3448629 h 3646170"/>
              <a:gd name="connsiteX4" fmla="*/ 0 w 737236"/>
              <a:gd name="connsiteY4" fmla="*/ 3646170 h 3646170"/>
              <a:gd name="connsiteX5" fmla="*/ 0 w 737236"/>
              <a:gd name="connsiteY5" fmla="*/ 368618 h 3646170"/>
              <a:gd name="connsiteX6" fmla="*/ 294329 w 737236"/>
              <a:gd name="connsiteY6" fmla="*/ 7489 h 364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37236" h="3646170">
                <a:moveTo>
                  <a:pt x="294329" y="7489"/>
                </a:moveTo>
                <a:cubicBezTo>
                  <a:pt x="318325" y="2579"/>
                  <a:pt x="343170" y="0"/>
                  <a:pt x="368618" y="0"/>
                </a:cubicBezTo>
                <a:cubicBezTo>
                  <a:pt x="572200" y="0"/>
                  <a:pt x="737236" y="165036"/>
                  <a:pt x="737236" y="368618"/>
                </a:cubicBezTo>
                <a:lnTo>
                  <a:pt x="737235" y="3448629"/>
                </a:lnTo>
                <a:lnTo>
                  <a:pt x="0" y="3646170"/>
                </a:lnTo>
                <a:lnTo>
                  <a:pt x="0" y="368618"/>
                </a:lnTo>
                <a:cubicBezTo>
                  <a:pt x="1" y="190484"/>
                  <a:pt x="126356" y="41861"/>
                  <a:pt x="294329" y="7489"/>
                </a:cubicBezTo>
                <a:close/>
              </a:path>
            </a:pathLst>
          </a:custGeom>
          <a:solidFill>
            <a:srgbClr val="140B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67CF9C9-26E4-4CCA-2489-EA1403AF749A}"/>
              </a:ext>
            </a:extLst>
          </p:cNvPr>
          <p:cNvCxnSpPr>
            <a:cxnSpLocks/>
          </p:cNvCxnSpPr>
          <p:nvPr userDrawn="1"/>
        </p:nvCxnSpPr>
        <p:spPr>
          <a:xfrm rot="900000" flipH="1">
            <a:off x="9695751" y="-132832"/>
            <a:ext cx="0" cy="7112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16662C6-F32D-D286-E981-FFF7563738AA}"/>
              </a:ext>
            </a:extLst>
          </p:cNvPr>
          <p:cNvCxnSpPr>
            <a:cxnSpLocks/>
          </p:cNvCxnSpPr>
          <p:nvPr userDrawn="1"/>
        </p:nvCxnSpPr>
        <p:spPr>
          <a:xfrm flipH="1">
            <a:off x="10616112" y="990600"/>
            <a:ext cx="1572166" cy="58674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945840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o-Brand 2024-0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7F44744A-7370-45C0-CB74-88A57CF6C18C}"/>
              </a:ext>
            </a:extLst>
          </p:cNvPr>
          <p:cNvSpPr/>
          <p:nvPr userDrawn="1"/>
        </p:nvSpPr>
        <p:spPr>
          <a:xfrm rot="2700000">
            <a:off x="8404848" y="-676776"/>
            <a:ext cx="832104" cy="2612447"/>
          </a:xfrm>
          <a:custGeom>
            <a:avLst/>
            <a:gdLst>
              <a:gd name="connsiteX0" fmla="*/ 0 w 832104"/>
              <a:gd name="connsiteY0" fmla="*/ 832103 h 2612447"/>
              <a:gd name="connsiteX1" fmla="*/ 832104 w 832104"/>
              <a:gd name="connsiteY1" fmla="*/ 0 h 2612447"/>
              <a:gd name="connsiteX2" fmla="*/ 832104 w 832104"/>
              <a:gd name="connsiteY2" fmla="*/ 2196395 h 2612447"/>
              <a:gd name="connsiteX3" fmla="*/ 416052 w 832104"/>
              <a:gd name="connsiteY3" fmla="*/ 2612447 h 2612447"/>
              <a:gd name="connsiteX4" fmla="*/ 0 w 832104"/>
              <a:gd name="connsiteY4" fmla="*/ 2196395 h 26124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2104" h="2612447">
                <a:moveTo>
                  <a:pt x="0" y="832103"/>
                </a:moveTo>
                <a:lnTo>
                  <a:pt x="832104" y="0"/>
                </a:lnTo>
                <a:lnTo>
                  <a:pt x="832104" y="2196395"/>
                </a:lnTo>
                <a:cubicBezTo>
                  <a:pt x="832104" y="2426174"/>
                  <a:pt x="645831" y="2612447"/>
                  <a:pt x="416052" y="2612447"/>
                </a:cubicBezTo>
                <a:cubicBezTo>
                  <a:pt x="186273" y="2612447"/>
                  <a:pt x="0" y="2426174"/>
                  <a:pt x="0" y="2196395"/>
                </a:cubicBezTo>
                <a:close/>
              </a:path>
            </a:pathLst>
          </a:custGeom>
          <a:solidFill>
            <a:srgbClr val="7FD1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6270413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70413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70413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5A4C8A-6879-7FCB-0A76-F16EBB9CEB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8EF4E02D-F7F2-65BC-9A85-BBCF1CEAB9A4}"/>
              </a:ext>
            </a:extLst>
          </p:cNvPr>
          <p:cNvSpPr/>
          <p:nvPr userDrawn="1"/>
        </p:nvSpPr>
        <p:spPr>
          <a:xfrm rot="13500000" flipH="1">
            <a:off x="10884124" y="1958347"/>
            <a:ext cx="1426821" cy="2469493"/>
          </a:xfrm>
          <a:custGeom>
            <a:avLst/>
            <a:gdLst>
              <a:gd name="connsiteX0" fmla="*/ 0 w 1867898"/>
              <a:gd name="connsiteY0" fmla="*/ 3232895 h 3232895"/>
              <a:gd name="connsiteX1" fmla="*/ 0 w 1867898"/>
              <a:gd name="connsiteY1" fmla="*/ 933949 h 3232895"/>
              <a:gd name="connsiteX2" fmla="*/ 933949 w 1867898"/>
              <a:gd name="connsiteY2" fmla="*/ 0 h 3232895"/>
              <a:gd name="connsiteX3" fmla="*/ 1867898 w 1867898"/>
              <a:gd name="connsiteY3" fmla="*/ 933949 h 3232895"/>
              <a:gd name="connsiteX4" fmla="*/ 1867898 w 1867898"/>
              <a:gd name="connsiteY4" fmla="*/ 1797199 h 3232895"/>
              <a:gd name="connsiteX5" fmla="*/ 432202 w 1867898"/>
              <a:gd name="connsiteY5" fmla="*/ 3232895 h 3232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67898" h="3232895">
                <a:moveTo>
                  <a:pt x="0" y="3232895"/>
                </a:moveTo>
                <a:lnTo>
                  <a:pt x="0" y="933949"/>
                </a:lnTo>
                <a:cubicBezTo>
                  <a:pt x="0" y="418143"/>
                  <a:pt x="418143" y="0"/>
                  <a:pt x="933949" y="0"/>
                </a:cubicBezTo>
                <a:cubicBezTo>
                  <a:pt x="1449755" y="0"/>
                  <a:pt x="1867898" y="418143"/>
                  <a:pt x="1867898" y="933949"/>
                </a:cubicBezTo>
                <a:lnTo>
                  <a:pt x="1867898" y="1797199"/>
                </a:lnTo>
                <a:lnTo>
                  <a:pt x="432202" y="323289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C069A87-C164-C434-5CEF-4ACD0B6BF8B1}"/>
              </a:ext>
            </a:extLst>
          </p:cNvPr>
          <p:cNvSpPr/>
          <p:nvPr userDrawn="1"/>
        </p:nvSpPr>
        <p:spPr>
          <a:xfrm rot="13500000" flipH="1">
            <a:off x="10658974" y="1045214"/>
            <a:ext cx="830027" cy="4013802"/>
          </a:xfrm>
          <a:custGeom>
            <a:avLst/>
            <a:gdLst>
              <a:gd name="connsiteX0" fmla="*/ 0 w 1086616"/>
              <a:gd name="connsiteY0" fmla="*/ 5254600 h 5254600"/>
              <a:gd name="connsiteX1" fmla="*/ 0 w 1086616"/>
              <a:gd name="connsiteY1" fmla="*/ 543308 h 5254600"/>
              <a:gd name="connsiteX2" fmla="*/ 543308 w 1086616"/>
              <a:gd name="connsiteY2" fmla="*/ 0 h 5254600"/>
              <a:gd name="connsiteX3" fmla="*/ 1086616 w 1086616"/>
              <a:gd name="connsiteY3" fmla="*/ 543308 h 5254600"/>
              <a:gd name="connsiteX4" fmla="*/ 1086615 w 1086616"/>
              <a:gd name="connsiteY4" fmla="*/ 4167985 h 5254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6616" h="5254600">
                <a:moveTo>
                  <a:pt x="0" y="5254600"/>
                </a:moveTo>
                <a:lnTo>
                  <a:pt x="0" y="543308"/>
                </a:lnTo>
                <a:cubicBezTo>
                  <a:pt x="0" y="243247"/>
                  <a:pt x="243247" y="0"/>
                  <a:pt x="543308" y="0"/>
                </a:cubicBezTo>
                <a:cubicBezTo>
                  <a:pt x="843369" y="0"/>
                  <a:pt x="1086616" y="243247"/>
                  <a:pt x="1086616" y="543308"/>
                </a:cubicBezTo>
                <a:lnTo>
                  <a:pt x="1086615" y="416798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98AFE06D-6874-9BC8-8B4C-CD00FFBB1819}"/>
              </a:ext>
            </a:extLst>
          </p:cNvPr>
          <p:cNvSpPr/>
          <p:nvPr userDrawn="1"/>
        </p:nvSpPr>
        <p:spPr>
          <a:xfrm rot="13500000" flipH="1">
            <a:off x="8610866" y="-919718"/>
            <a:ext cx="3320094" cy="4877247"/>
          </a:xfrm>
          <a:custGeom>
            <a:avLst/>
            <a:gdLst>
              <a:gd name="connsiteX0" fmla="*/ 2551539 w 4346444"/>
              <a:gd name="connsiteY0" fmla="*/ 6384965 h 6384965"/>
              <a:gd name="connsiteX1" fmla="*/ 0 w 4346444"/>
              <a:gd name="connsiteY1" fmla="*/ 3833426 h 6384965"/>
              <a:gd name="connsiteX2" fmla="*/ 0 w 4346444"/>
              <a:gd name="connsiteY2" fmla="*/ 2173222 h 6384965"/>
              <a:gd name="connsiteX3" fmla="*/ 2173222 w 4346444"/>
              <a:gd name="connsiteY3" fmla="*/ 0 h 6384965"/>
              <a:gd name="connsiteX4" fmla="*/ 4346444 w 4346444"/>
              <a:gd name="connsiteY4" fmla="*/ 2173222 h 6384965"/>
              <a:gd name="connsiteX5" fmla="*/ 4346444 w 4346444"/>
              <a:gd name="connsiteY5" fmla="*/ 4590060 h 63849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346444" h="6384965">
                <a:moveTo>
                  <a:pt x="2551539" y="6384965"/>
                </a:moveTo>
                <a:lnTo>
                  <a:pt x="0" y="3833426"/>
                </a:lnTo>
                <a:lnTo>
                  <a:pt x="0" y="2173222"/>
                </a:lnTo>
                <a:cubicBezTo>
                  <a:pt x="0" y="972985"/>
                  <a:pt x="972985" y="0"/>
                  <a:pt x="2173222" y="0"/>
                </a:cubicBezTo>
                <a:cubicBezTo>
                  <a:pt x="3373459" y="0"/>
                  <a:pt x="4346444" y="972985"/>
                  <a:pt x="4346444" y="2173222"/>
                </a:cubicBezTo>
                <a:lnTo>
                  <a:pt x="4346444" y="45900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09405D1E-7C07-65A2-75A2-7E9EF6B6049B}"/>
              </a:ext>
            </a:extLst>
          </p:cNvPr>
          <p:cNvSpPr/>
          <p:nvPr userDrawn="1"/>
        </p:nvSpPr>
        <p:spPr>
          <a:xfrm rot="13500000" flipH="1">
            <a:off x="11146606" y="1933863"/>
            <a:ext cx="527807" cy="2759754"/>
          </a:xfrm>
          <a:custGeom>
            <a:avLst/>
            <a:gdLst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5" fmla="*/ 572714 w 690970"/>
              <a:gd name="connsiteY5" fmla="*/ 3040171 h 3612885"/>
              <a:gd name="connsiteX6" fmla="*/ 0 w 690970"/>
              <a:gd name="connsiteY6" fmla="*/ 3612885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5" fmla="*/ 572714 w 690970"/>
              <a:gd name="connsiteY5" fmla="*/ 3040171 h 3612885"/>
              <a:gd name="connsiteX6" fmla="*/ 123701 w 690970"/>
              <a:gd name="connsiteY6" fmla="*/ 3489184 h 3612885"/>
              <a:gd name="connsiteX7" fmla="*/ 0 w 690970"/>
              <a:gd name="connsiteY7" fmla="*/ 3612885 h 3612885"/>
              <a:gd name="connsiteX0" fmla="*/ 123701 w 690970"/>
              <a:gd name="connsiteY0" fmla="*/ 3489184 h 3612885"/>
              <a:gd name="connsiteX1" fmla="*/ 0 w 690970"/>
              <a:gd name="connsiteY1" fmla="*/ 3612885 h 3612885"/>
              <a:gd name="connsiteX2" fmla="*/ 0 w 690970"/>
              <a:gd name="connsiteY2" fmla="*/ 345485 h 3612885"/>
              <a:gd name="connsiteX3" fmla="*/ 345485 w 690970"/>
              <a:gd name="connsiteY3" fmla="*/ 0 h 3612885"/>
              <a:gd name="connsiteX4" fmla="*/ 690970 w 690970"/>
              <a:gd name="connsiteY4" fmla="*/ 345485 h 3612885"/>
              <a:gd name="connsiteX5" fmla="*/ 690970 w 690970"/>
              <a:gd name="connsiteY5" fmla="*/ 2921915 h 3612885"/>
              <a:gd name="connsiteX6" fmla="*/ 572714 w 690970"/>
              <a:gd name="connsiteY6" fmla="*/ 3040171 h 3612885"/>
              <a:gd name="connsiteX7" fmla="*/ 215141 w 690970"/>
              <a:gd name="connsiteY7" fmla="*/ 3580624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5" fmla="*/ 572714 w 690970"/>
              <a:gd name="connsiteY5" fmla="*/ 3040171 h 3612885"/>
              <a:gd name="connsiteX6" fmla="*/ 215141 w 690970"/>
              <a:gd name="connsiteY6" fmla="*/ 3580624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5" fmla="*/ 215141 w 690970"/>
              <a:gd name="connsiteY5" fmla="*/ 3580624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0970" h="3612885">
                <a:moveTo>
                  <a:pt x="0" y="3612885"/>
                </a:moveTo>
                <a:lnTo>
                  <a:pt x="0" y="345485"/>
                </a:lnTo>
                <a:cubicBezTo>
                  <a:pt x="0" y="154679"/>
                  <a:pt x="154679" y="0"/>
                  <a:pt x="345485" y="0"/>
                </a:cubicBezTo>
                <a:cubicBezTo>
                  <a:pt x="536291" y="0"/>
                  <a:pt x="690970" y="154679"/>
                  <a:pt x="690970" y="345485"/>
                </a:cubicBezTo>
                <a:lnTo>
                  <a:pt x="690970" y="2921915"/>
                </a:lnTo>
              </a:path>
            </a:pathLst>
          </a:custGeom>
          <a:noFill/>
          <a:ln w="12700">
            <a:solidFill>
              <a:srgbClr val="2B3A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9F0BC72C-1AD7-E7CA-ECEC-E76873446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281375" y="4854606"/>
            <a:ext cx="2324100" cy="1341752"/>
          </a:xfrm>
          <a:prstGeom prst="rect">
            <a:avLst/>
          </a:prstGeom>
          <a:solidFill>
            <a:srgbClr val="DA291C"/>
          </a:solidFill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-brand and bid defense only: You may replace this box with a sponsor logo. Ensure the logo is on a white or transparent background and you have usage permission.</a:t>
            </a:r>
            <a:br>
              <a:rPr lang="en-US"/>
            </a:br>
            <a:br>
              <a:rPr lang="en-US"/>
            </a:br>
            <a:r>
              <a:rPr lang="en-US"/>
              <a:t>All other presentations, or without sponsor logo: Please delete this box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795383A-AB7C-A1C6-5711-CA54E3E52A6D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</p:spTree>
    <p:extLst>
      <p:ext uri="{BB962C8B-B14F-4D97-AF65-F5344CB8AC3E}">
        <p14:creationId xmlns:p14="http://schemas.microsoft.com/office/powerpoint/2010/main" val="15720612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o-Brand 2024-02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6270413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70413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70413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5A4C8A-6879-7FCB-0A76-F16EBB9CEB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9F0BC72C-1AD7-E7CA-ECEC-E76873446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281375" y="4854606"/>
            <a:ext cx="2324100" cy="1341752"/>
          </a:xfrm>
          <a:prstGeom prst="rect">
            <a:avLst/>
          </a:prstGeom>
          <a:solidFill>
            <a:srgbClr val="DA291C"/>
          </a:solidFill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-brand and bid defense only: You may replace this box with a sponsor logo. Ensure the logo is on a white or transparent background and you have usage permission.</a:t>
            </a:r>
            <a:br>
              <a:rPr lang="en-US"/>
            </a:br>
            <a:br>
              <a:rPr lang="en-US"/>
            </a:br>
            <a:r>
              <a:rPr lang="en-US"/>
              <a:t>All other presentations, or without sponsor logo: Please delete this box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795383A-AB7C-A1C6-5711-CA54E3E52A6D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D7711C25-1E32-D856-3159-AA194B0AE59F}"/>
              </a:ext>
            </a:extLst>
          </p:cNvPr>
          <p:cNvSpPr/>
          <p:nvPr userDrawn="1"/>
        </p:nvSpPr>
        <p:spPr>
          <a:xfrm rot="-2700000">
            <a:off x="7890787" y="-1101899"/>
            <a:ext cx="3375142" cy="3358615"/>
          </a:xfrm>
          <a:custGeom>
            <a:avLst/>
            <a:gdLst>
              <a:gd name="connsiteX0" fmla="*/ 824841 w 3375142"/>
              <a:gd name="connsiteY0" fmla="*/ 0 h 3358615"/>
              <a:gd name="connsiteX1" fmla="*/ 3375142 w 3375142"/>
              <a:gd name="connsiteY1" fmla="*/ 2550301 h 3358615"/>
              <a:gd name="connsiteX2" fmla="*/ 3375142 w 3375142"/>
              <a:gd name="connsiteY2" fmla="*/ 2834570 h 3358615"/>
              <a:gd name="connsiteX3" fmla="*/ 2851097 w 3375142"/>
              <a:gd name="connsiteY3" fmla="*/ 3358615 h 3358615"/>
              <a:gd name="connsiteX4" fmla="*/ 524045 w 3375142"/>
              <a:gd name="connsiteY4" fmla="*/ 3358615 h 3358615"/>
              <a:gd name="connsiteX5" fmla="*/ 0 w 3375142"/>
              <a:gd name="connsiteY5" fmla="*/ 2834570 h 3358615"/>
              <a:gd name="connsiteX6" fmla="*/ 0 w 3375142"/>
              <a:gd name="connsiteY6" fmla="*/ 524045 h 3358615"/>
              <a:gd name="connsiteX7" fmla="*/ 524045 w 3375142"/>
              <a:gd name="connsiteY7" fmla="*/ 0 h 3358615"/>
              <a:gd name="connsiteX0" fmla="*/ 3375142 w 3466582"/>
              <a:gd name="connsiteY0" fmla="*/ 2550301 h 3358615"/>
              <a:gd name="connsiteX1" fmla="*/ 3375142 w 3466582"/>
              <a:gd name="connsiteY1" fmla="*/ 2834570 h 3358615"/>
              <a:gd name="connsiteX2" fmla="*/ 2851097 w 3466582"/>
              <a:gd name="connsiteY2" fmla="*/ 3358615 h 3358615"/>
              <a:gd name="connsiteX3" fmla="*/ 524045 w 3466582"/>
              <a:gd name="connsiteY3" fmla="*/ 3358615 h 3358615"/>
              <a:gd name="connsiteX4" fmla="*/ 0 w 3466582"/>
              <a:gd name="connsiteY4" fmla="*/ 2834570 h 3358615"/>
              <a:gd name="connsiteX5" fmla="*/ 0 w 3466582"/>
              <a:gd name="connsiteY5" fmla="*/ 524045 h 3358615"/>
              <a:gd name="connsiteX6" fmla="*/ 524045 w 3466582"/>
              <a:gd name="connsiteY6" fmla="*/ 0 h 3358615"/>
              <a:gd name="connsiteX7" fmla="*/ 824841 w 3466582"/>
              <a:gd name="connsiteY7" fmla="*/ 0 h 3358615"/>
              <a:gd name="connsiteX8" fmla="*/ 3466582 w 3466582"/>
              <a:gd name="connsiteY8" fmla="*/ 2641741 h 3358615"/>
              <a:gd name="connsiteX0" fmla="*/ 3375142 w 3375142"/>
              <a:gd name="connsiteY0" fmla="*/ 2550301 h 3358615"/>
              <a:gd name="connsiteX1" fmla="*/ 3375142 w 3375142"/>
              <a:gd name="connsiteY1" fmla="*/ 2834570 h 3358615"/>
              <a:gd name="connsiteX2" fmla="*/ 2851097 w 3375142"/>
              <a:gd name="connsiteY2" fmla="*/ 3358615 h 3358615"/>
              <a:gd name="connsiteX3" fmla="*/ 524045 w 3375142"/>
              <a:gd name="connsiteY3" fmla="*/ 3358615 h 3358615"/>
              <a:gd name="connsiteX4" fmla="*/ 0 w 3375142"/>
              <a:gd name="connsiteY4" fmla="*/ 2834570 h 3358615"/>
              <a:gd name="connsiteX5" fmla="*/ 0 w 3375142"/>
              <a:gd name="connsiteY5" fmla="*/ 524045 h 3358615"/>
              <a:gd name="connsiteX6" fmla="*/ 524045 w 3375142"/>
              <a:gd name="connsiteY6" fmla="*/ 0 h 3358615"/>
              <a:gd name="connsiteX7" fmla="*/ 824841 w 3375142"/>
              <a:gd name="connsiteY7" fmla="*/ 0 h 33586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75142" h="3358615">
                <a:moveTo>
                  <a:pt x="3375142" y="2550301"/>
                </a:moveTo>
                <a:lnTo>
                  <a:pt x="3375142" y="2834570"/>
                </a:lnTo>
                <a:cubicBezTo>
                  <a:pt x="3375142" y="3123992"/>
                  <a:pt x="3140519" y="3358615"/>
                  <a:pt x="2851097" y="3358615"/>
                </a:cubicBezTo>
                <a:lnTo>
                  <a:pt x="524045" y="3358615"/>
                </a:lnTo>
                <a:cubicBezTo>
                  <a:pt x="234623" y="3358615"/>
                  <a:pt x="0" y="3123992"/>
                  <a:pt x="0" y="2834570"/>
                </a:cubicBezTo>
                <a:lnTo>
                  <a:pt x="0" y="524045"/>
                </a:lnTo>
                <a:cubicBezTo>
                  <a:pt x="0" y="234623"/>
                  <a:pt x="234623" y="0"/>
                  <a:pt x="524045" y="0"/>
                </a:cubicBezTo>
                <a:lnTo>
                  <a:pt x="824841" y="0"/>
                </a:lnTo>
              </a:path>
            </a:pathLst>
          </a:cu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7C9A477D-265C-9608-FDB2-0CC08A6EB248}"/>
              </a:ext>
            </a:extLst>
          </p:cNvPr>
          <p:cNvSpPr/>
          <p:nvPr userDrawn="1"/>
        </p:nvSpPr>
        <p:spPr>
          <a:xfrm rot="-2700000">
            <a:off x="8628149" y="-1411464"/>
            <a:ext cx="3721275" cy="4628377"/>
          </a:xfrm>
          <a:custGeom>
            <a:avLst/>
            <a:gdLst>
              <a:gd name="connsiteX0" fmla="*/ 823095 w 3721275"/>
              <a:gd name="connsiteY0" fmla="*/ 0 h 4628377"/>
              <a:gd name="connsiteX1" fmla="*/ 3721275 w 3721275"/>
              <a:gd name="connsiteY1" fmla="*/ 2898181 h 4628377"/>
              <a:gd name="connsiteX2" fmla="*/ 1991079 w 3721275"/>
              <a:gd name="connsiteY2" fmla="*/ 4628377 h 4628377"/>
              <a:gd name="connsiteX3" fmla="*/ 648536 w 3721275"/>
              <a:gd name="connsiteY3" fmla="*/ 4628377 h 4628377"/>
              <a:gd name="connsiteX4" fmla="*/ 0 w 3721275"/>
              <a:gd name="connsiteY4" fmla="*/ 3979841 h 4628377"/>
              <a:gd name="connsiteX5" fmla="*/ 0 w 3721275"/>
              <a:gd name="connsiteY5" fmla="*/ 648536 h 4628377"/>
              <a:gd name="connsiteX6" fmla="*/ 648536 w 3721275"/>
              <a:gd name="connsiteY6" fmla="*/ 0 h 4628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21275" h="4628377">
                <a:moveTo>
                  <a:pt x="823095" y="0"/>
                </a:moveTo>
                <a:lnTo>
                  <a:pt x="3721275" y="2898181"/>
                </a:lnTo>
                <a:lnTo>
                  <a:pt x="1991079" y="4628377"/>
                </a:lnTo>
                <a:lnTo>
                  <a:pt x="648536" y="4628377"/>
                </a:lnTo>
                <a:cubicBezTo>
                  <a:pt x="290359" y="4628377"/>
                  <a:pt x="0" y="4338018"/>
                  <a:pt x="0" y="3979841"/>
                </a:cubicBezTo>
                <a:lnTo>
                  <a:pt x="0" y="648536"/>
                </a:lnTo>
                <a:cubicBezTo>
                  <a:pt x="0" y="290359"/>
                  <a:pt x="290359" y="0"/>
                  <a:pt x="648536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23269336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o-Brand 2024-03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6270413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70413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70413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5A4C8A-6879-7FCB-0A76-F16EBB9CEB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9F0BC72C-1AD7-E7CA-ECEC-E76873446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281375" y="4854606"/>
            <a:ext cx="2324100" cy="1341752"/>
          </a:xfrm>
          <a:prstGeom prst="rect">
            <a:avLst/>
          </a:prstGeom>
          <a:solidFill>
            <a:srgbClr val="DA291C"/>
          </a:solidFill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-brand and bid defense only: You may replace this box with a sponsor logo. Ensure the logo is on a white or transparent background and you have usage permission.</a:t>
            </a:r>
            <a:br>
              <a:rPr lang="en-US"/>
            </a:br>
            <a:br>
              <a:rPr lang="en-US"/>
            </a:br>
            <a:r>
              <a:rPr lang="en-US"/>
              <a:t>All other presentations, or without sponsor logo: Please delete this box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795383A-AB7C-A1C6-5711-CA54E3E52A6D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93076B7C-F202-996E-7DFF-5D02CB251F3F}"/>
              </a:ext>
            </a:extLst>
          </p:cNvPr>
          <p:cNvSpPr/>
          <p:nvPr userDrawn="1"/>
        </p:nvSpPr>
        <p:spPr>
          <a:xfrm rot="2700000">
            <a:off x="10287508" y="-38027"/>
            <a:ext cx="2386306" cy="3251042"/>
          </a:xfrm>
          <a:custGeom>
            <a:avLst/>
            <a:gdLst>
              <a:gd name="connsiteX0" fmla="*/ 0 w 2386306"/>
              <a:gd name="connsiteY0" fmla="*/ 573618 h 3251042"/>
              <a:gd name="connsiteX1" fmla="*/ 573618 w 2386306"/>
              <a:gd name="connsiteY1" fmla="*/ 0 h 3251042"/>
              <a:gd name="connsiteX2" fmla="*/ 2386306 w 2386306"/>
              <a:gd name="connsiteY2" fmla="*/ 1812689 h 3251042"/>
              <a:gd name="connsiteX3" fmla="*/ 2386306 w 2386306"/>
              <a:gd name="connsiteY3" fmla="*/ 2894719 h 3251042"/>
              <a:gd name="connsiteX4" fmla="*/ 2029983 w 2386306"/>
              <a:gd name="connsiteY4" fmla="*/ 3251042 h 3251042"/>
              <a:gd name="connsiteX5" fmla="*/ 356323 w 2386306"/>
              <a:gd name="connsiteY5" fmla="*/ 3251042 h 3251042"/>
              <a:gd name="connsiteX6" fmla="*/ 0 w 2386306"/>
              <a:gd name="connsiteY6" fmla="*/ 2894719 h 3251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86306" h="3251042">
                <a:moveTo>
                  <a:pt x="0" y="573618"/>
                </a:moveTo>
                <a:lnTo>
                  <a:pt x="573618" y="0"/>
                </a:lnTo>
                <a:lnTo>
                  <a:pt x="2386306" y="1812689"/>
                </a:lnTo>
                <a:lnTo>
                  <a:pt x="2386306" y="2894719"/>
                </a:lnTo>
                <a:cubicBezTo>
                  <a:pt x="2386306" y="3091511"/>
                  <a:pt x="2226775" y="3251042"/>
                  <a:pt x="2029983" y="3251042"/>
                </a:cubicBezTo>
                <a:lnTo>
                  <a:pt x="356323" y="3251042"/>
                </a:lnTo>
                <a:cubicBezTo>
                  <a:pt x="159531" y="3251042"/>
                  <a:pt x="0" y="3091511"/>
                  <a:pt x="0" y="2894719"/>
                </a:cubicBezTo>
                <a:close/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1CF6A970-AE29-6F75-C4C8-B187F617CAEC}"/>
              </a:ext>
            </a:extLst>
          </p:cNvPr>
          <p:cNvSpPr/>
          <p:nvPr userDrawn="1"/>
        </p:nvSpPr>
        <p:spPr>
          <a:xfrm rot="2700000">
            <a:off x="10132011" y="1200350"/>
            <a:ext cx="2806378" cy="2807032"/>
          </a:xfrm>
          <a:custGeom>
            <a:avLst/>
            <a:gdLst>
              <a:gd name="connsiteX0" fmla="*/ 93508 w 2806378"/>
              <a:gd name="connsiteY0" fmla="*/ 93507 h 2807032"/>
              <a:gd name="connsiteX1" fmla="*/ 319254 w 2806378"/>
              <a:gd name="connsiteY1" fmla="*/ 0 h 2807032"/>
              <a:gd name="connsiteX2" fmla="*/ 928529 w 2806378"/>
              <a:gd name="connsiteY2" fmla="*/ 0 h 2807032"/>
              <a:gd name="connsiteX3" fmla="*/ 2806378 w 2806378"/>
              <a:gd name="connsiteY3" fmla="*/ 1877849 h 2807032"/>
              <a:gd name="connsiteX4" fmla="*/ 2806378 w 2806378"/>
              <a:gd name="connsiteY4" fmla="*/ 2487778 h 2807032"/>
              <a:gd name="connsiteX5" fmla="*/ 2487124 w 2806378"/>
              <a:gd name="connsiteY5" fmla="*/ 2807032 h 2807032"/>
              <a:gd name="connsiteX6" fmla="*/ 319254 w 2806378"/>
              <a:gd name="connsiteY6" fmla="*/ 2807032 h 2807032"/>
              <a:gd name="connsiteX7" fmla="*/ 0 w 2806378"/>
              <a:gd name="connsiteY7" fmla="*/ 2487778 h 2807032"/>
              <a:gd name="connsiteX8" fmla="*/ 0 w 2806378"/>
              <a:gd name="connsiteY8" fmla="*/ 319254 h 2807032"/>
              <a:gd name="connsiteX9" fmla="*/ 93508 w 2806378"/>
              <a:gd name="connsiteY9" fmla="*/ 93507 h 2807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806378" h="2807032">
                <a:moveTo>
                  <a:pt x="93508" y="93507"/>
                </a:moveTo>
                <a:cubicBezTo>
                  <a:pt x="151281" y="35733"/>
                  <a:pt x="231095" y="0"/>
                  <a:pt x="319254" y="0"/>
                </a:cubicBezTo>
                <a:lnTo>
                  <a:pt x="928529" y="0"/>
                </a:lnTo>
                <a:lnTo>
                  <a:pt x="2806378" y="1877849"/>
                </a:lnTo>
                <a:lnTo>
                  <a:pt x="2806378" y="2487778"/>
                </a:lnTo>
                <a:cubicBezTo>
                  <a:pt x="2806378" y="2664097"/>
                  <a:pt x="2663443" y="2807032"/>
                  <a:pt x="2487124" y="2807032"/>
                </a:cubicBezTo>
                <a:lnTo>
                  <a:pt x="319254" y="2807032"/>
                </a:lnTo>
                <a:cubicBezTo>
                  <a:pt x="142935" y="2807032"/>
                  <a:pt x="0" y="2664097"/>
                  <a:pt x="0" y="2487778"/>
                </a:cubicBezTo>
                <a:lnTo>
                  <a:pt x="0" y="319254"/>
                </a:lnTo>
                <a:cubicBezTo>
                  <a:pt x="0" y="231094"/>
                  <a:pt x="35734" y="151281"/>
                  <a:pt x="93508" y="93507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BC595510-407A-9229-034C-83CA1804EAD4}"/>
              </a:ext>
            </a:extLst>
          </p:cNvPr>
          <p:cNvSpPr/>
          <p:nvPr userDrawn="1"/>
        </p:nvSpPr>
        <p:spPr>
          <a:xfrm rot="2700000">
            <a:off x="10839088" y="1250954"/>
            <a:ext cx="2705824" cy="2705824"/>
          </a:xfrm>
          <a:custGeom>
            <a:avLst/>
            <a:gdLst>
              <a:gd name="connsiteX0" fmla="*/ 0 w 2705824"/>
              <a:gd name="connsiteY0" fmla="*/ 0 h 2705824"/>
              <a:gd name="connsiteX1" fmla="*/ 2705824 w 2705824"/>
              <a:gd name="connsiteY1" fmla="*/ 2705824 h 2705824"/>
              <a:gd name="connsiteX2" fmla="*/ 306766 w 2705824"/>
              <a:gd name="connsiteY2" fmla="*/ 2705824 h 2705824"/>
              <a:gd name="connsiteX3" fmla="*/ 0 w 2705824"/>
              <a:gd name="connsiteY3" fmla="*/ 2399058 h 2705824"/>
              <a:gd name="connsiteX0" fmla="*/ 2705824 w 2797264"/>
              <a:gd name="connsiteY0" fmla="*/ 2705824 h 2797264"/>
              <a:gd name="connsiteX1" fmla="*/ 306766 w 2797264"/>
              <a:gd name="connsiteY1" fmla="*/ 2705824 h 2797264"/>
              <a:gd name="connsiteX2" fmla="*/ 0 w 2797264"/>
              <a:gd name="connsiteY2" fmla="*/ 2399058 h 2797264"/>
              <a:gd name="connsiteX3" fmla="*/ 0 w 2797264"/>
              <a:gd name="connsiteY3" fmla="*/ 0 h 2797264"/>
              <a:gd name="connsiteX4" fmla="*/ 2797264 w 2797264"/>
              <a:gd name="connsiteY4" fmla="*/ 2797264 h 2797264"/>
              <a:gd name="connsiteX0" fmla="*/ 2705824 w 2705824"/>
              <a:gd name="connsiteY0" fmla="*/ 2705824 h 2705824"/>
              <a:gd name="connsiteX1" fmla="*/ 306766 w 2705824"/>
              <a:gd name="connsiteY1" fmla="*/ 2705824 h 2705824"/>
              <a:gd name="connsiteX2" fmla="*/ 0 w 2705824"/>
              <a:gd name="connsiteY2" fmla="*/ 2399058 h 2705824"/>
              <a:gd name="connsiteX3" fmla="*/ 0 w 2705824"/>
              <a:gd name="connsiteY3" fmla="*/ 0 h 27058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05824" h="2705824">
                <a:moveTo>
                  <a:pt x="2705824" y="2705824"/>
                </a:moveTo>
                <a:lnTo>
                  <a:pt x="306766" y="2705824"/>
                </a:lnTo>
                <a:cubicBezTo>
                  <a:pt x="137344" y="2705824"/>
                  <a:pt x="0" y="2568480"/>
                  <a:pt x="0" y="2399058"/>
                </a:cubicBezTo>
                <a:lnTo>
                  <a:pt x="0" y="0"/>
                </a:lnTo>
              </a:path>
            </a:pathLst>
          </a:custGeom>
          <a:noFill/>
          <a:ln>
            <a:solidFill>
              <a:srgbClr val="0CEFC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36957527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9030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CC58985-6F6A-8540-ABC2-450EF4A8FB42}"/>
              </a:ext>
            </a:extLst>
          </p:cNvPr>
          <p:cNvSpPr txBox="1"/>
          <p:nvPr/>
        </p:nvSpPr>
        <p:spPr bwMode="black">
          <a:xfrm>
            <a:off x="6096000" y="6858000"/>
            <a:ext cx="6096001" cy="276999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i="0" u="none" strike="noStrike" kern="120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IQVIA Template (V3.0.0)</a:t>
            </a:r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Arial" charset="0"/>
              <a:cs typeface="Arial" charset="0"/>
            </a:endParaRPr>
          </a:p>
        </p:txBody>
      </p: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8ADA47BD-E4A5-7845-BFB3-F0B0FFBC057C}"/>
              </a:ext>
            </a:extLst>
          </p:cNvPr>
          <p:cNvGrpSpPr/>
          <p:nvPr userDrawn="1"/>
        </p:nvGrpSpPr>
        <p:grpSpPr>
          <a:xfrm>
            <a:off x="12308083" y="0"/>
            <a:ext cx="851744" cy="3915867"/>
            <a:chOff x="5958724" y="2146789"/>
            <a:chExt cx="851744" cy="3915867"/>
          </a:xfrm>
        </p:grpSpPr>
        <p:sp>
          <p:nvSpPr>
            <p:cNvPr id="148" name="Rectangle 147">
              <a:extLst>
                <a:ext uri="{FF2B5EF4-FFF2-40B4-BE49-F238E27FC236}">
                  <a16:creationId xmlns:a16="http://schemas.microsoft.com/office/drawing/2014/main" id="{F46DD2B6-4144-9C44-8392-9127F5DADBD1}"/>
                </a:ext>
              </a:extLst>
            </p:cNvPr>
            <p:cNvSpPr/>
            <p:nvPr/>
          </p:nvSpPr>
          <p:spPr bwMode="gray">
            <a:xfrm>
              <a:off x="5958724" y="4367503"/>
              <a:ext cx="187184" cy="18718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49" name="Rectangle 148">
              <a:extLst>
                <a:ext uri="{FF2B5EF4-FFF2-40B4-BE49-F238E27FC236}">
                  <a16:creationId xmlns:a16="http://schemas.microsoft.com/office/drawing/2014/main" id="{BBE2A7EF-3365-0441-9D19-475B521B2290}"/>
                </a:ext>
              </a:extLst>
            </p:cNvPr>
            <p:cNvSpPr/>
            <p:nvPr/>
          </p:nvSpPr>
          <p:spPr bwMode="gray">
            <a:xfrm>
              <a:off x="6401764" y="4367503"/>
              <a:ext cx="187184" cy="187184"/>
            </a:xfrm>
            <a:prstGeom prst="rect">
              <a:avLst/>
            </a:prstGeom>
            <a:solidFill>
              <a:srgbClr val="606B7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0" name="Rectangle 149">
              <a:extLst>
                <a:ext uri="{FF2B5EF4-FFF2-40B4-BE49-F238E27FC236}">
                  <a16:creationId xmlns:a16="http://schemas.microsoft.com/office/drawing/2014/main" id="{F5E57586-5BBB-444A-AF8C-B41739BFA68E}"/>
                </a:ext>
              </a:extLst>
            </p:cNvPr>
            <p:cNvSpPr/>
            <p:nvPr/>
          </p:nvSpPr>
          <p:spPr bwMode="gray">
            <a:xfrm>
              <a:off x="6623283" y="4367503"/>
              <a:ext cx="187184" cy="187184"/>
            </a:xfrm>
            <a:prstGeom prst="rect">
              <a:avLst/>
            </a:prstGeom>
            <a:solidFill>
              <a:srgbClr val="CACE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1" name="Rectangle 150">
              <a:extLst>
                <a:ext uri="{FF2B5EF4-FFF2-40B4-BE49-F238E27FC236}">
                  <a16:creationId xmlns:a16="http://schemas.microsoft.com/office/drawing/2014/main" id="{7900B15B-0301-9442-BA29-DAF74AC2ED47}"/>
                </a:ext>
              </a:extLst>
            </p:cNvPr>
            <p:cNvSpPr/>
            <p:nvPr/>
          </p:nvSpPr>
          <p:spPr bwMode="gray">
            <a:xfrm>
              <a:off x="6180244" y="4367503"/>
              <a:ext cx="187184" cy="187184"/>
            </a:xfrm>
            <a:prstGeom prst="rect">
              <a:avLst/>
            </a:prstGeom>
            <a:solidFill>
              <a:srgbClr val="959C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DD901AD7-A1AE-D147-9240-470D94A80732}"/>
                </a:ext>
              </a:extLst>
            </p:cNvPr>
            <p:cNvSpPr/>
            <p:nvPr/>
          </p:nvSpPr>
          <p:spPr bwMode="gray">
            <a:xfrm>
              <a:off x="5958724" y="5230398"/>
              <a:ext cx="187184" cy="187184"/>
            </a:xfrm>
            <a:prstGeom prst="rect">
              <a:avLst/>
            </a:prstGeom>
            <a:solidFill>
              <a:srgbClr val="8300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3" name="Rectangle 152">
              <a:extLst>
                <a:ext uri="{FF2B5EF4-FFF2-40B4-BE49-F238E27FC236}">
                  <a16:creationId xmlns:a16="http://schemas.microsoft.com/office/drawing/2014/main" id="{7BE91BB9-CB37-5644-9D3E-65E05DA24DFB}"/>
                </a:ext>
              </a:extLst>
            </p:cNvPr>
            <p:cNvSpPr/>
            <p:nvPr/>
          </p:nvSpPr>
          <p:spPr bwMode="gray">
            <a:xfrm>
              <a:off x="6180244" y="5230398"/>
              <a:ext cx="187184" cy="187184"/>
            </a:xfrm>
            <a:prstGeom prst="rect">
              <a:avLst/>
            </a:prstGeom>
            <a:solidFill>
              <a:srgbClr val="C17F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4" name="Rectangle 153">
              <a:extLst>
                <a:ext uri="{FF2B5EF4-FFF2-40B4-BE49-F238E27FC236}">
                  <a16:creationId xmlns:a16="http://schemas.microsoft.com/office/drawing/2014/main" id="{EF40564E-4C5B-F540-BCD2-987DECECBC4B}"/>
                </a:ext>
              </a:extLst>
            </p:cNvPr>
            <p:cNvSpPr/>
            <p:nvPr/>
          </p:nvSpPr>
          <p:spPr bwMode="gray">
            <a:xfrm>
              <a:off x="6401764" y="5230398"/>
              <a:ext cx="187184" cy="187184"/>
            </a:xfrm>
            <a:prstGeom prst="rect">
              <a:avLst/>
            </a:prstGeom>
            <a:solidFill>
              <a:srgbClr val="A240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60B69A35-7556-7E46-B4BF-B9A458A4FC9C}"/>
                </a:ext>
              </a:extLst>
            </p:cNvPr>
            <p:cNvSpPr/>
            <p:nvPr/>
          </p:nvSpPr>
          <p:spPr bwMode="gray">
            <a:xfrm>
              <a:off x="6623284" y="5230398"/>
              <a:ext cx="187184" cy="187184"/>
            </a:xfrm>
            <a:prstGeom prst="rect">
              <a:avLst/>
            </a:prstGeom>
            <a:solidFill>
              <a:srgbClr val="E0BF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F396C095-9B66-F444-862E-DE666BC5DC9E}"/>
                </a:ext>
              </a:extLst>
            </p:cNvPr>
            <p:cNvSpPr txBox="1"/>
            <p:nvPr/>
          </p:nvSpPr>
          <p:spPr>
            <a:xfrm>
              <a:off x="5958724" y="2146789"/>
              <a:ext cx="851744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en-US" sz="600">
                  <a:solidFill>
                    <a:schemeClr val="tx1"/>
                  </a:solidFill>
                </a:rPr>
                <a:t>100%  50%   75%   25%</a:t>
              </a:r>
            </a:p>
          </p:txBody>
        </p:sp>
        <p:sp>
          <p:nvSpPr>
            <p:cNvPr id="157" name="Rectangle 156">
              <a:extLst>
                <a:ext uri="{FF2B5EF4-FFF2-40B4-BE49-F238E27FC236}">
                  <a16:creationId xmlns:a16="http://schemas.microsoft.com/office/drawing/2014/main" id="{480FE3E9-3530-C64D-B638-EC4604BABA48}"/>
                </a:ext>
              </a:extLst>
            </p:cNvPr>
            <p:cNvSpPr/>
            <p:nvPr/>
          </p:nvSpPr>
          <p:spPr bwMode="gray">
            <a:xfrm>
              <a:off x="5958724" y="5875472"/>
              <a:ext cx="187184" cy="187184"/>
            </a:xfrm>
            <a:prstGeom prst="rect">
              <a:avLst/>
            </a:prstGeom>
            <a:solidFill>
              <a:srgbClr val="F4F4F4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25FA0A73-ADED-6F42-9167-2CF5F6F9E90A}"/>
                </a:ext>
              </a:extLst>
            </p:cNvPr>
            <p:cNvSpPr/>
            <p:nvPr/>
          </p:nvSpPr>
          <p:spPr bwMode="gray">
            <a:xfrm>
              <a:off x="5958724" y="5019103"/>
              <a:ext cx="187184" cy="187184"/>
            </a:xfrm>
            <a:prstGeom prst="rect">
              <a:avLst/>
            </a:prstGeom>
            <a:solidFill>
              <a:srgbClr val="C627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9" name="Rectangle 158">
              <a:extLst>
                <a:ext uri="{FF2B5EF4-FFF2-40B4-BE49-F238E27FC236}">
                  <a16:creationId xmlns:a16="http://schemas.microsoft.com/office/drawing/2014/main" id="{AE835229-8F21-9A48-BD16-620E2017B79C}"/>
                </a:ext>
              </a:extLst>
            </p:cNvPr>
            <p:cNvSpPr/>
            <p:nvPr/>
          </p:nvSpPr>
          <p:spPr bwMode="gray">
            <a:xfrm>
              <a:off x="6180244" y="5019103"/>
              <a:ext cx="187184" cy="187184"/>
            </a:xfrm>
            <a:prstGeom prst="rect">
              <a:avLst/>
            </a:prstGeom>
            <a:solidFill>
              <a:srgbClr val="E99E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60" name="Rectangle 159">
              <a:extLst>
                <a:ext uri="{FF2B5EF4-FFF2-40B4-BE49-F238E27FC236}">
                  <a16:creationId xmlns:a16="http://schemas.microsoft.com/office/drawing/2014/main" id="{8BAF336C-0CDF-0A49-A8D2-0BA6C083EEAF}"/>
                </a:ext>
              </a:extLst>
            </p:cNvPr>
            <p:cNvSpPr/>
            <p:nvPr/>
          </p:nvSpPr>
          <p:spPr bwMode="gray">
            <a:xfrm>
              <a:off x="6401764" y="5019103"/>
              <a:ext cx="187184" cy="187184"/>
            </a:xfrm>
            <a:prstGeom prst="rect">
              <a:avLst/>
            </a:prstGeom>
            <a:solidFill>
              <a:srgbClr val="DB6C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61" name="Rectangle 160">
              <a:extLst>
                <a:ext uri="{FF2B5EF4-FFF2-40B4-BE49-F238E27FC236}">
                  <a16:creationId xmlns:a16="http://schemas.microsoft.com/office/drawing/2014/main" id="{B01A576D-7D44-DA4B-8DCF-7D091109B952}"/>
                </a:ext>
              </a:extLst>
            </p:cNvPr>
            <p:cNvSpPr/>
            <p:nvPr/>
          </p:nvSpPr>
          <p:spPr bwMode="gray">
            <a:xfrm>
              <a:off x="6623284" y="5019103"/>
              <a:ext cx="187184" cy="187184"/>
            </a:xfrm>
            <a:prstGeom prst="rect">
              <a:avLst/>
            </a:prstGeom>
            <a:solidFill>
              <a:srgbClr val="F5CE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62" name="Rectangle 161">
              <a:extLst>
                <a:ext uri="{FF2B5EF4-FFF2-40B4-BE49-F238E27FC236}">
                  <a16:creationId xmlns:a16="http://schemas.microsoft.com/office/drawing/2014/main" id="{5CE1B164-8B08-1A46-8990-C0E66043BE64}"/>
                </a:ext>
              </a:extLst>
            </p:cNvPr>
            <p:cNvSpPr/>
            <p:nvPr/>
          </p:nvSpPr>
          <p:spPr bwMode="gray">
            <a:xfrm>
              <a:off x="5958724" y="5448992"/>
              <a:ext cx="187184" cy="187184"/>
            </a:xfrm>
            <a:prstGeom prst="rect">
              <a:avLst/>
            </a:prstGeom>
            <a:solidFill>
              <a:srgbClr val="DA29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63" name="Rectangle 162">
              <a:extLst>
                <a:ext uri="{FF2B5EF4-FFF2-40B4-BE49-F238E27FC236}">
                  <a16:creationId xmlns:a16="http://schemas.microsoft.com/office/drawing/2014/main" id="{FABDCF59-39B4-D741-804B-DA8E5356DEE0}"/>
                </a:ext>
              </a:extLst>
            </p:cNvPr>
            <p:cNvSpPr/>
            <p:nvPr/>
          </p:nvSpPr>
          <p:spPr bwMode="gray">
            <a:xfrm>
              <a:off x="6180244" y="2343732"/>
              <a:ext cx="187184" cy="187184"/>
            </a:xfrm>
            <a:prstGeom prst="rect">
              <a:avLst/>
            </a:prstGeom>
            <a:solidFill>
              <a:srgbClr val="7FD1E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4" name="Rectangle 163">
              <a:extLst>
                <a:ext uri="{FF2B5EF4-FFF2-40B4-BE49-F238E27FC236}">
                  <a16:creationId xmlns:a16="http://schemas.microsoft.com/office/drawing/2014/main" id="{51FF5A3B-DFB1-5F43-A2EF-04D81F0CA37E}"/>
                </a:ext>
              </a:extLst>
            </p:cNvPr>
            <p:cNvSpPr/>
            <p:nvPr/>
          </p:nvSpPr>
          <p:spPr bwMode="gray">
            <a:xfrm>
              <a:off x="6180244" y="2565037"/>
              <a:ext cx="187184" cy="187184"/>
            </a:xfrm>
            <a:prstGeom prst="rect">
              <a:avLst/>
            </a:prstGeom>
            <a:solidFill>
              <a:srgbClr val="7FAA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5" name="Rectangle 164">
              <a:extLst>
                <a:ext uri="{FF2B5EF4-FFF2-40B4-BE49-F238E27FC236}">
                  <a16:creationId xmlns:a16="http://schemas.microsoft.com/office/drawing/2014/main" id="{48595AD6-FC65-BD4F-A0A3-C9735B09BF97}"/>
                </a:ext>
              </a:extLst>
            </p:cNvPr>
            <p:cNvSpPr/>
            <p:nvPr/>
          </p:nvSpPr>
          <p:spPr bwMode="gray">
            <a:xfrm>
              <a:off x="6401763" y="2343732"/>
              <a:ext cx="187184" cy="187184"/>
            </a:xfrm>
            <a:prstGeom prst="rect">
              <a:avLst/>
            </a:prstGeom>
            <a:solidFill>
              <a:srgbClr val="40BAE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6" name="Rectangle 165">
              <a:extLst>
                <a:ext uri="{FF2B5EF4-FFF2-40B4-BE49-F238E27FC236}">
                  <a16:creationId xmlns:a16="http://schemas.microsoft.com/office/drawing/2014/main" id="{C2D4C9F2-E663-FE4E-91B5-486C3221C4FF}"/>
                </a:ext>
              </a:extLst>
            </p:cNvPr>
            <p:cNvSpPr/>
            <p:nvPr/>
          </p:nvSpPr>
          <p:spPr bwMode="gray">
            <a:xfrm>
              <a:off x="6401763" y="2565037"/>
              <a:ext cx="187184" cy="187184"/>
            </a:xfrm>
            <a:prstGeom prst="rect">
              <a:avLst/>
            </a:prstGeom>
            <a:solidFill>
              <a:srgbClr val="4080A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7" name="Rectangle 166">
              <a:extLst>
                <a:ext uri="{FF2B5EF4-FFF2-40B4-BE49-F238E27FC236}">
                  <a16:creationId xmlns:a16="http://schemas.microsoft.com/office/drawing/2014/main" id="{4E87748B-6503-C94A-A0A5-ECF75744DC53}"/>
                </a:ext>
              </a:extLst>
            </p:cNvPr>
            <p:cNvSpPr/>
            <p:nvPr/>
          </p:nvSpPr>
          <p:spPr bwMode="gray">
            <a:xfrm>
              <a:off x="6623283" y="2343732"/>
              <a:ext cx="187184" cy="187184"/>
            </a:xfrm>
            <a:prstGeom prst="rect">
              <a:avLst/>
            </a:prstGeom>
            <a:solidFill>
              <a:srgbClr val="BFE8F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18F062A5-65F4-EC4E-99C6-45D7627564E3}"/>
                </a:ext>
              </a:extLst>
            </p:cNvPr>
            <p:cNvSpPr/>
            <p:nvPr/>
          </p:nvSpPr>
          <p:spPr bwMode="gray">
            <a:xfrm>
              <a:off x="6623283" y="2565037"/>
              <a:ext cx="187184" cy="187184"/>
            </a:xfrm>
            <a:prstGeom prst="rect">
              <a:avLst/>
            </a:prstGeom>
            <a:solidFill>
              <a:srgbClr val="BFD4E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9" name="Rectangle 168">
              <a:extLst>
                <a:ext uri="{FF2B5EF4-FFF2-40B4-BE49-F238E27FC236}">
                  <a16:creationId xmlns:a16="http://schemas.microsoft.com/office/drawing/2014/main" id="{3C6FF5B6-5DBB-B04F-B902-B9A93A757215}"/>
                </a:ext>
              </a:extLst>
            </p:cNvPr>
            <p:cNvSpPr/>
            <p:nvPr/>
          </p:nvSpPr>
          <p:spPr bwMode="gray">
            <a:xfrm>
              <a:off x="5958724" y="3700925"/>
              <a:ext cx="187184" cy="187184"/>
            </a:xfrm>
            <a:prstGeom prst="rect">
              <a:avLst/>
            </a:prstGeom>
            <a:solidFill>
              <a:srgbClr val="43B02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0" name="Rectangle 169">
              <a:extLst>
                <a:ext uri="{FF2B5EF4-FFF2-40B4-BE49-F238E27FC236}">
                  <a16:creationId xmlns:a16="http://schemas.microsoft.com/office/drawing/2014/main" id="{B2008AA1-3AD4-1E4C-B34C-1BAB347F3885}"/>
                </a:ext>
              </a:extLst>
            </p:cNvPr>
            <p:cNvSpPr/>
            <p:nvPr/>
          </p:nvSpPr>
          <p:spPr bwMode="gray">
            <a:xfrm>
              <a:off x="6180244" y="4583145"/>
              <a:ext cx="187184" cy="187184"/>
            </a:xfrm>
            <a:prstGeom prst="rect">
              <a:avLst/>
            </a:prstGeom>
            <a:solidFill>
              <a:srgbClr val="F7D99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1" name="Rectangle 170">
              <a:extLst>
                <a:ext uri="{FF2B5EF4-FFF2-40B4-BE49-F238E27FC236}">
                  <a16:creationId xmlns:a16="http://schemas.microsoft.com/office/drawing/2014/main" id="{415782FB-236F-3E4E-B840-8903CA2A46D6}"/>
                </a:ext>
              </a:extLst>
            </p:cNvPr>
            <p:cNvSpPr/>
            <p:nvPr/>
          </p:nvSpPr>
          <p:spPr bwMode="gray">
            <a:xfrm>
              <a:off x="6401763" y="4583145"/>
              <a:ext cx="187184" cy="187184"/>
            </a:xfrm>
            <a:prstGeom prst="rect">
              <a:avLst/>
            </a:prstGeom>
            <a:solidFill>
              <a:srgbClr val="F4C65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2" name="Rectangle 171">
              <a:extLst>
                <a:ext uri="{FF2B5EF4-FFF2-40B4-BE49-F238E27FC236}">
                  <a16:creationId xmlns:a16="http://schemas.microsoft.com/office/drawing/2014/main" id="{99C6C7E8-E1A5-D848-873A-234390B695A6}"/>
                </a:ext>
              </a:extLst>
            </p:cNvPr>
            <p:cNvSpPr/>
            <p:nvPr/>
          </p:nvSpPr>
          <p:spPr bwMode="gray">
            <a:xfrm>
              <a:off x="6623283" y="4583145"/>
              <a:ext cx="187184" cy="187184"/>
            </a:xfrm>
            <a:prstGeom prst="rect">
              <a:avLst/>
            </a:prstGeom>
            <a:solidFill>
              <a:srgbClr val="FBECC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3" name="Rectangle 172">
              <a:extLst>
                <a:ext uri="{FF2B5EF4-FFF2-40B4-BE49-F238E27FC236}">
                  <a16:creationId xmlns:a16="http://schemas.microsoft.com/office/drawing/2014/main" id="{7BC28099-48BB-8E4A-9E3A-F5749D3F9E0A}"/>
                </a:ext>
              </a:extLst>
            </p:cNvPr>
            <p:cNvSpPr/>
            <p:nvPr/>
          </p:nvSpPr>
          <p:spPr bwMode="gray">
            <a:xfrm>
              <a:off x="5958724" y="2566491"/>
              <a:ext cx="187184" cy="187184"/>
            </a:xfrm>
            <a:prstGeom prst="rect">
              <a:avLst/>
            </a:prstGeom>
            <a:solidFill>
              <a:srgbClr val="00558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4" name="Rectangle 173">
              <a:extLst>
                <a:ext uri="{FF2B5EF4-FFF2-40B4-BE49-F238E27FC236}">
                  <a16:creationId xmlns:a16="http://schemas.microsoft.com/office/drawing/2014/main" id="{63E571ED-E3FF-5845-A5E1-0018A8108B4A}"/>
                </a:ext>
              </a:extLst>
            </p:cNvPr>
            <p:cNvSpPr/>
            <p:nvPr/>
          </p:nvSpPr>
          <p:spPr bwMode="gray">
            <a:xfrm>
              <a:off x="6180244" y="4804513"/>
              <a:ext cx="187184" cy="187184"/>
            </a:xfrm>
            <a:prstGeom prst="rect">
              <a:avLst/>
            </a:prstGeom>
            <a:solidFill>
              <a:srgbClr val="FEC48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5" name="Rectangle 174">
              <a:extLst>
                <a:ext uri="{FF2B5EF4-FFF2-40B4-BE49-F238E27FC236}">
                  <a16:creationId xmlns:a16="http://schemas.microsoft.com/office/drawing/2014/main" id="{6B6BB2FF-AD78-0C41-B253-007FB067303C}"/>
                </a:ext>
              </a:extLst>
            </p:cNvPr>
            <p:cNvSpPr/>
            <p:nvPr/>
          </p:nvSpPr>
          <p:spPr bwMode="gray">
            <a:xfrm>
              <a:off x="6401763" y="4804513"/>
              <a:ext cx="187184" cy="187184"/>
            </a:xfrm>
            <a:prstGeom prst="rect">
              <a:avLst/>
            </a:prstGeom>
            <a:solidFill>
              <a:srgbClr val="FEA74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6" name="Rectangle 175">
              <a:extLst>
                <a:ext uri="{FF2B5EF4-FFF2-40B4-BE49-F238E27FC236}">
                  <a16:creationId xmlns:a16="http://schemas.microsoft.com/office/drawing/2014/main" id="{72D84D15-FC10-8449-A8DF-0693CC5AD3C8}"/>
                </a:ext>
              </a:extLst>
            </p:cNvPr>
            <p:cNvSpPr/>
            <p:nvPr/>
          </p:nvSpPr>
          <p:spPr bwMode="gray">
            <a:xfrm>
              <a:off x="6623283" y="4804513"/>
              <a:ext cx="187184" cy="187184"/>
            </a:xfrm>
            <a:prstGeom prst="rect">
              <a:avLst/>
            </a:prstGeom>
            <a:solidFill>
              <a:srgbClr val="FFE2C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7" name="Rectangle 176">
              <a:extLst>
                <a:ext uri="{FF2B5EF4-FFF2-40B4-BE49-F238E27FC236}">
                  <a16:creationId xmlns:a16="http://schemas.microsoft.com/office/drawing/2014/main" id="{1412DE59-4F68-1A4F-81B2-F45A075CF184}"/>
                </a:ext>
              </a:extLst>
            </p:cNvPr>
            <p:cNvSpPr/>
            <p:nvPr/>
          </p:nvSpPr>
          <p:spPr bwMode="gray">
            <a:xfrm>
              <a:off x="5958724" y="2343732"/>
              <a:ext cx="187184" cy="187184"/>
            </a:xfrm>
            <a:prstGeom prst="rect">
              <a:avLst/>
            </a:prstGeom>
            <a:solidFill>
              <a:srgbClr val="00A3E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8" name="Rectangle 177">
              <a:extLst>
                <a:ext uri="{FF2B5EF4-FFF2-40B4-BE49-F238E27FC236}">
                  <a16:creationId xmlns:a16="http://schemas.microsoft.com/office/drawing/2014/main" id="{C91C1BDA-5D81-794C-B1A7-67CC9CE1EE1E}"/>
                </a:ext>
              </a:extLst>
            </p:cNvPr>
            <p:cNvSpPr/>
            <p:nvPr/>
          </p:nvSpPr>
          <p:spPr bwMode="gray">
            <a:xfrm>
              <a:off x="6180244" y="3017653"/>
              <a:ext cx="187184" cy="187184"/>
            </a:xfrm>
            <a:prstGeom prst="rect">
              <a:avLst/>
            </a:prstGeom>
            <a:solidFill>
              <a:srgbClr val="7FDFD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9" name="Rectangle 178">
              <a:extLst>
                <a:ext uri="{FF2B5EF4-FFF2-40B4-BE49-F238E27FC236}">
                  <a16:creationId xmlns:a16="http://schemas.microsoft.com/office/drawing/2014/main" id="{E26E8257-987A-C249-A28B-F90461918BC4}"/>
                </a:ext>
              </a:extLst>
            </p:cNvPr>
            <p:cNvSpPr/>
            <p:nvPr/>
          </p:nvSpPr>
          <p:spPr bwMode="gray">
            <a:xfrm>
              <a:off x="6401763" y="3017653"/>
              <a:ext cx="187184" cy="187184"/>
            </a:xfrm>
            <a:prstGeom prst="rect">
              <a:avLst/>
            </a:prstGeom>
            <a:solidFill>
              <a:srgbClr val="40CFC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0" name="Rectangle 179">
              <a:extLst>
                <a:ext uri="{FF2B5EF4-FFF2-40B4-BE49-F238E27FC236}">
                  <a16:creationId xmlns:a16="http://schemas.microsoft.com/office/drawing/2014/main" id="{9C325A48-0CB1-104E-BA30-9A71DD6D61AB}"/>
                </a:ext>
              </a:extLst>
            </p:cNvPr>
            <p:cNvSpPr/>
            <p:nvPr/>
          </p:nvSpPr>
          <p:spPr bwMode="gray">
            <a:xfrm>
              <a:off x="6623283" y="3017653"/>
              <a:ext cx="187184" cy="187184"/>
            </a:xfrm>
            <a:prstGeom prst="rect">
              <a:avLst/>
            </a:prstGeom>
            <a:solidFill>
              <a:srgbClr val="BFEFEC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1" name="Rectangle 180">
              <a:extLst>
                <a:ext uri="{FF2B5EF4-FFF2-40B4-BE49-F238E27FC236}">
                  <a16:creationId xmlns:a16="http://schemas.microsoft.com/office/drawing/2014/main" id="{2A36493E-9946-3341-A680-94F587D7EB67}"/>
                </a:ext>
              </a:extLst>
            </p:cNvPr>
            <p:cNvSpPr/>
            <p:nvPr/>
          </p:nvSpPr>
          <p:spPr bwMode="gray">
            <a:xfrm>
              <a:off x="5958724" y="4584599"/>
              <a:ext cx="187184" cy="187184"/>
            </a:xfrm>
            <a:prstGeom prst="rect">
              <a:avLst/>
            </a:prstGeom>
            <a:solidFill>
              <a:srgbClr val="F0B32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2" name="Rectangle 181">
              <a:extLst>
                <a:ext uri="{FF2B5EF4-FFF2-40B4-BE49-F238E27FC236}">
                  <a16:creationId xmlns:a16="http://schemas.microsoft.com/office/drawing/2014/main" id="{F65DD10B-52F6-9841-91B3-81394F672A9F}"/>
                </a:ext>
              </a:extLst>
            </p:cNvPr>
            <p:cNvSpPr/>
            <p:nvPr/>
          </p:nvSpPr>
          <p:spPr bwMode="gray">
            <a:xfrm>
              <a:off x="5958724" y="4804513"/>
              <a:ext cx="187184" cy="187184"/>
            </a:xfrm>
            <a:prstGeom prst="rect">
              <a:avLst/>
            </a:prstGeom>
            <a:solidFill>
              <a:srgbClr val="FE8A1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3" name="Rectangle 182">
              <a:extLst>
                <a:ext uri="{FF2B5EF4-FFF2-40B4-BE49-F238E27FC236}">
                  <a16:creationId xmlns:a16="http://schemas.microsoft.com/office/drawing/2014/main" id="{96B5B61B-C053-424B-AAFB-3CAEB0DDF986}"/>
                </a:ext>
              </a:extLst>
            </p:cNvPr>
            <p:cNvSpPr/>
            <p:nvPr/>
          </p:nvSpPr>
          <p:spPr bwMode="gray">
            <a:xfrm>
              <a:off x="5958724" y="3020561"/>
              <a:ext cx="187184" cy="187184"/>
            </a:xfrm>
            <a:prstGeom prst="rect">
              <a:avLst/>
            </a:prstGeom>
            <a:solidFill>
              <a:srgbClr val="00BFB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4" name="Rectangle 183">
              <a:extLst>
                <a:ext uri="{FF2B5EF4-FFF2-40B4-BE49-F238E27FC236}">
                  <a16:creationId xmlns:a16="http://schemas.microsoft.com/office/drawing/2014/main" id="{A9EA6558-DD3B-7A4C-91B0-97252C1832CF}"/>
                </a:ext>
              </a:extLst>
            </p:cNvPr>
            <p:cNvSpPr/>
            <p:nvPr/>
          </p:nvSpPr>
          <p:spPr bwMode="gray">
            <a:xfrm>
              <a:off x="5958724" y="3922293"/>
              <a:ext cx="187184" cy="187184"/>
            </a:xfrm>
            <a:prstGeom prst="rect">
              <a:avLst/>
            </a:prstGeom>
            <a:solidFill>
              <a:srgbClr val="02712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5" name="Rectangle 184">
              <a:extLst>
                <a:ext uri="{FF2B5EF4-FFF2-40B4-BE49-F238E27FC236}">
                  <a16:creationId xmlns:a16="http://schemas.microsoft.com/office/drawing/2014/main" id="{E34F6D7E-6CD3-7B49-9F1D-6D78AACEFF91}"/>
                </a:ext>
              </a:extLst>
            </p:cNvPr>
            <p:cNvSpPr/>
            <p:nvPr/>
          </p:nvSpPr>
          <p:spPr bwMode="gray">
            <a:xfrm>
              <a:off x="6180244" y="3922293"/>
              <a:ext cx="187184" cy="187184"/>
            </a:xfrm>
            <a:prstGeom prst="rect">
              <a:avLst/>
            </a:prstGeom>
            <a:solidFill>
              <a:srgbClr val="80B89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6" name="Rectangle 185">
              <a:extLst>
                <a:ext uri="{FF2B5EF4-FFF2-40B4-BE49-F238E27FC236}">
                  <a16:creationId xmlns:a16="http://schemas.microsoft.com/office/drawing/2014/main" id="{BF821065-02C2-EF4B-9F9C-E2A91FD8F316}"/>
                </a:ext>
              </a:extLst>
            </p:cNvPr>
            <p:cNvSpPr/>
            <p:nvPr/>
          </p:nvSpPr>
          <p:spPr bwMode="gray">
            <a:xfrm>
              <a:off x="6180244" y="3700925"/>
              <a:ext cx="187184" cy="187184"/>
            </a:xfrm>
            <a:prstGeom prst="rect">
              <a:avLst/>
            </a:prstGeom>
            <a:solidFill>
              <a:srgbClr val="A1D79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C91976CC-682F-9849-BB70-F87EC81993D2}"/>
                </a:ext>
              </a:extLst>
            </p:cNvPr>
            <p:cNvSpPr/>
            <p:nvPr/>
          </p:nvSpPr>
          <p:spPr bwMode="gray">
            <a:xfrm>
              <a:off x="6401763" y="3922293"/>
              <a:ext cx="187184" cy="187184"/>
            </a:xfrm>
            <a:prstGeom prst="rect">
              <a:avLst/>
            </a:prstGeom>
            <a:solidFill>
              <a:srgbClr val="41955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8" name="Rectangle 187">
              <a:extLst>
                <a:ext uri="{FF2B5EF4-FFF2-40B4-BE49-F238E27FC236}">
                  <a16:creationId xmlns:a16="http://schemas.microsoft.com/office/drawing/2014/main" id="{D79483A8-0232-0548-BBDE-CAC5A5717E5B}"/>
                </a:ext>
              </a:extLst>
            </p:cNvPr>
            <p:cNvSpPr/>
            <p:nvPr/>
          </p:nvSpPr>
          <p:spPr bwMode="gray">
            <a:xfrm>
              <a:off x="6401763" y="3700925"/>
              <a:ext cx="187184" cy="187184"/>
            </a:xfrm>
            <a:prstGeom prst="rect">
              <a:avLst/>
            </a:prstGeom>
            <a:solidFill>
              <a:srgbClr val="72C45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9" name="Rectangle 188">
              <a:extLst>
                <a:ext uri="{FF2B5EF4-FFF2-40B4-BE49-F238E27FC236}">
                  <a16:creationId xmlns:a16="http://schemas.microsoft.com/office/drawing/2014/main" id="{6B89722E-49F3-144D-AC2D-0950AC3ACF7F}"/>
                </a:ext>
              </a:extLst>
            </p:cNvPr>
            <p:cNvSpPr/>
            <p:nvPr/>
          </p:nvSpPr>
          <p:spPr bwMode="gray">
            <a:xfrm>
              <a:off x="6623283" y="3922293"/>
              <a:ext cx="187184" cy="187184"/>
            </a:xfrm>
            <a:prstGeom prst="rect">
              <a:avLst/>
            </a:prstGeom>
            <a:solidFill>
              <a:srgbClr val="C0DCC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0" name="Rectangle 189">
              <a:extLst>
                <a:ext uri="{FF2B5EF4-FFF2-40B4-BE49-F238E27FC236}">
                  <a16:creationId xmlns:a16="http://schemas.microsoft.com/office/drawing/2014/main" id="{ACF64A98-8F5F-364E-9BF7-4F76EBB2E875}"/>
                </a:ext>
              </a:extLst>
            </p:cNvPr>
            <p:cNvSpPr/>
            <p:nvPr/>
          </p:nvSpPr>
          <p:spPr bwMode="gray">
            <a:xfrm>
              <a:off x="6623283" y="3700925"/>
              <a:ext cx="187184" cy="187184"/>
            </a:xfrm>
            <a:prstGeom prst="rect">
              <a:avLst/>
            </a:prstGeom>
            <a:solidFill>
              <a:srgbClr val="D0EBC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1" name="Rectangle 190">
              <a:extLst>
                <a:ext uri="{FF2B5EF4-FFF2-40B4-BE49-F238E27FC236}">
                  <a16:creationId xmlns:a16="http://schemas.microsoft.com/office/drawing/2014/main" id="{68D56737-D7FA-9241-BF90-CDAA19D3F175}"/>
                </a:ext>
              </a:extLst>
            </p:cNvPr>
            <p:cNvSpPr/>
            <p:nvPr/>
          </p:nvSpPr>
          <p:spPr bwMode="gray">
            <a:xfrm>
              <a:off x="5958724" y="2792710"/>
              <a:ext cx="187184" cy="187184"/>
            </a:xfrm>
            <a:prstGeom prst="rect">
              <a:avLst/>
            </a:prstGeom>
            <a:solidFill>
              <a:srgbClr val="00CC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2" name="TextBox 191">
              <a:extLst>
                <a:ext uri="{FF2B5EF4-FFF2-40B4-BE49-F238E27FC236}">
                  <a16:creationId xmlns:a16="http://schemas.microsoft.com/office/drawing/2014/main" id="{03825342-AAFF-0E4E-A60C-2B8AB690F64E}"/>
                </a:ext>
              </a:extLst>
            </p:cNvPr>
            <p:cNvSpPr txBox="1"/>
            <p:nvPr/>
          </p:nvSpPr>
          <p:spPr>
            <a:xfrm>
              <a:off x="6179531" y="2792515"/>
              <a:ext cx="630936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>
                  <a:solidFill>
                    <a:schemeClr val="tx1"/>
                  </a:solidFill>
                </a:rPr>
                <a:t>Bright Blue</a:t>
              </a:r>
            </a:p>
          </p:txBody>
        </p:sp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463016A2-866B-6740-A2DD-BA0BFCC950F7}"/>
                </a:ext>
              </a:extLst>
            </p:cNvPr>
            <p:cNvSpPr txBox="1"/>
            <p:nvPr/>
          </p:nvSpPr>
          <p:spPr>
            <a:xfrm>
              <a:off x="6180244" y="5875802"/>
              <a:ext cx="630223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/>
                <a:t>5% Charcoal</a:t>
              </a:r>
              <a:endParaRPr lang="en-US" sz="600">
                <a:solidFill>
                  <a:schemeClr val="tx1"/>
                </a:solidFill>
              </a:endParaRPr>
            </a:p>
          </p:txBody>
        </p:sp>
        <p:sp>
          <p:nvSpPr>
            <p:cNvPr id="194" name="Rectangle 193">
              <a:extLst>
                <a:ext uri="{FF2B5EF4-FFF2-40B4-BE49-F238E27FC236}">
                  <a16:creationId xmlns:a16="http://schemas.microsoft.com/office/drawing/2014/main" id="{FFE6951A-1135-BF4C-8E4A-27E4A4579C3B}"/>
                </a:ext>
              </a:extLst>
            </p:cNvPr>
            <p:cNvSpPr/>
            <p:nvPr/>
          </p:nvSpPr>
          <p:spPr bwMode="gray">
            <a:xfrm>
              <a:off x="5958724" y="5662447"/>
              <a:ext cx="187184" cy="187184"/>
            </a:xfrm>
            <a:prstGeom prst="rect">
              <a:avLst/>
            </a:prstGeom>
            <a:solidFill>
              <a:srgbClr val="140B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95" name="TextBox 194">
              <a:extLst>
                <a:ext uri="{FF2B5EF4-FFF2-40B4-BE49-F238E27FC236}">
                  <a16:creationId xmlns:a16="http://schemas.microsoft.com/office/drawing/2014/main" id="{72B3BE3E-8803-DD42-B96E-2D6A35B5C8FE}"/>
                </a:ext>
              </a:extLst>
            </p:cNvPr>
            <p:cNvSpPr txBox="1"/>
            <p:nvPr/>
          </p:nvSpPr>
          <p:spPr>
            <a:xfrm>
              <a:off x="6180244" y="5662777"/>
              <a:ext cx="630223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/>
                <a:t>Indigo</a:t>
              </a:r>
              <a:endParaRPr lang="en-US" sz="600">
                <a:solidFill>
                  <a:schemeClr val="tx1"/>
                </a:solidFill>
              </a:endParaRPr>
            </a:p>
          </p:txBody>
        </p:sp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1307F021-E250-BC44-A156-97E93EFBD041}"/>
                </a:ext>
              </a:extLst>
            </p:cNvPr>
            <p:cNvSpPr txBox="1"/>
            <p:nvPr/>
          </p:nvSpPr>
          <p:spPr>
            <a:xfrm>
              <a:off x="6180244" y="5451924"/>
              <a:ext cx="630223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>
                  <a:solidFill>
                    <a:schemeClr val="tx1"/>
                  </a:solidFill>
                </a:rPr>
                <a:t>Red</a:t>
              </a:r>
            </a:p>
          </p:txBody>
        </p:sp>
        <p:sp>
          <p:nvSpPr>
            <p:cNvPr id="197" name="Rectangle 196">
              <a:extLst>
                <a:ext uri="{FF2B5EF4-FFF2-40B4-BE49-F238E27FC236}">
                  <a16:creationId xmlns:a16="http://schemas.microsoft.com/office/drawing/2014/main" id="{D6E8F370-88B7-B143-BECC-56B2696E26F2}"/>
                </a:ext>
              </a:extLst>
            </p:cNvPr>
            <p:cNvSpPr/>
            <p:nvPr/>
          </p:nvSpPr>
          <p:spPr bwMode="gray">
            <a:xfrm>
              <a:off x="6180244" y="3246253"/>
              <a:ext cx="187184" cy="187184"/>
            </a:xfrm>
            <a:prstGeom prst="rect">
              <a:avLst/>
            </a:prstGeom>
            <a:solidFill>
              <a:srgbClr val="80C7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8" name="Rectangle 197">
              <a:extLst>
                <a:ext uri="{FF2B5EF4-FFF2-40B4-BE49-F238E27FC236}">
                  <a16:creationId xmlns:a16="http://schemas.microsoft.com/office/drawing/2014/main" id="{6777473D-86CB-DC41-A591-538A0820099A}"/>
                </a:ext>
              </a:extLst>
            </p:cNvPr>
            <p:cNvSpPr/>
            <p:nvPr/>
          </p:nvSpPr>
          <p:spPr bwMode="gray">
            <a:xfrm>
              <a:off x="6401763" y="3246253"/>
              <a:ext cx="187184" cy="187184"/>
            </a:xfrm>
            <a:prstGeom prst="rect">
              <a:avLst/>
            </a:prstGeom>
            <a:solidFill>
              <a:srgbClr val="40A49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9" name="Rectangle 198">
              <a:extLst>
                <a:ext uri="{FF2B5EF4-FFF2-40B4-BE49-F238E27FC236}">
                  <a16:creationId xmlns:a16="http://schemas.microsoft.com/office/drawing/2014/main" id="{989B0485-B1FD-0E46-998C-70BF14846660}"/>
                </a:ext>
              </a:extLst>
            </p:cNvPr>
            <p:cNvSpPr/>
            <p:nvPr/>
          </p:nvSpPr>
          <p:spPr bwMode="gray">
            <a:xfrm>
              <a:off x="6623283" y="3246253"/>
              <a:ext cx="187184" cy="187184"/>
            </a:xfrm>
            <a:prstGeom prst="rect">
              <a:avLst/>
            </a:prstGeom>
            <a:solidFill>
              <a:srgbClr val="CCE9E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0" name="Rectangle 199">
              <a:extLst>
                <a:ext uri="{FF2B5EF4-FFF2-40B4-BE49-F238E27FC236}">
                  <a16:creationId xmlns:a16="http://schemas.microsoft.com/office/drawing/2014/main" id="{C3488BCE-878D-4A43-AA90-4912A715E8BD}"/>
                </a:ext>
              </a:extLst>
            </p:cNvPr>
            <p:cNvSpPr/>
            <p:nvPr/>
          </p:nvSpPr>
          <p:spPr bwMode="gray">
            <a:xfrm>
              <a:off x="5958724" y="3249161"/>
              <a:ext cx="187184" cy="187184"/>
            </a:xfrm>
            <a:prstGeom prst="rect">
              <a:avLst/>
            </a:prstGeom>
            <a:solidFill>
              <a:srgbClr val="00867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1" name="Rectangle 200">
              <a:extLst>
                <a:ext uri="{FF2B5EF4-FFF2-40B4-BE49-F238E27FC236}">
                  <a16:creationId xmlns:a16="http://schemas.microsoft.com/office/drawing/2014/main" id="{7AB8F119-F5FE-2149-92FB-75F8830718E6}"/>
                </a:ext>
              </a:extLst>
            </p:cNvPr>
            <p:cNvSpPr/>
            <p:nvPr/>
          </p:nvSpPr>
          <p:spPr bwMode="gray">
            <a:xfrm>
              <a:off x="5958724" y="3472953"/>
              <a:ext cx="187184" cy="187184"/>
            </a:xfrm>
            <a:prstGeom prst="rect">
              <a:avLst/>
            </a:prstGeom>
            <a:solidFill>
              <a:srgbClr val="0CEF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D4276137-38CE-CE41-8278-45DD99244B1A}"/>
                </a:ext>
              </a:extLst>
            </p:cNvPr>
            <p:cNvSpPr txBox="1"/>
            <p:nvPr/>
          </p:nvSpPr>
          <p:spPr>
            <a:xfrm>
              <a:off x="6179531" y="3472758"/>
              <a:ext cx="630936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>
                  <a:solidFill>
                    <a:schemeClr val="tx1"/>
                  </a:solidFill>
                </a:rPr>
                <a:t>Bright Teal</a:t>
              </a:r>
            </a:p>
          </p:txBody>
        </p:sp>
        <p:sp>
          <p:nvSpPr>
            <p:cNvPr id="203" name="Rectangle 202">
              <a:extLst>
                <a:ext uri="{FF2B5EF4-FFF2-40B4-BE49-F238E27FC236}">
                  <a16:creationId xmlns:a16="http://schemas.microsoft.com/office/drawing/2014/main" id="{32FDF16C-E3D9-5A43-B4BA-A2D0BD2547E2}"/>
                </a:ext>
              </a:extLst>
            </p:cNvPr>
            <p:cNvSpPr/>
            <p:nvPr/>
          </p:nvSpPr>
          <p:spPr bwMode="gray">
            <a:xfrm>
              <a:off x="5958724" y="4147323"/>
              <a:ext cx="187184" cy="187184"/>
            </a:xfrm>
            <a:prstGeom prst="rect">
              <a:avLst/>
            </a:prstGeom>
            <a:solidFill>
              <a:srgbClr val="79D85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4" name="TextBox 203">
              <a:extLst>
                <a:ext uri="{FF2B5EF4-FFF2-40B4-BE49-F238E27FC236}">
                  <a16:creationId xmlns:a16="http://schemas.microsoft.com/office/drawing/2014/main" id="{2AF546EF-4A91-2643-AD8A-13B35443E7F5}"/>
                </a:ext>
              </a:extLst>
            </p:cNvPr>
            <p:cNvSpPr txBox="1"/>
            <p:nvPr/>
          </p:nvSpPr>
          <p:spPr>
            <a:xfrm>
              <a:off x="6179531" y="4147128"/>
              <a:ext cx="630936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>
                  <a:solidFill>
                    <a:schemeClr val="tx1"/>
                  </a:solidFill>
                </a:rPr>
                <a:t>Bright Gre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874360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3" r:id="rId1"/>
    <p:sldLayoutId id="2147484274" r:id="rId2"/>
    <p:sldLayoutId id="2147484275" r:id="rId3"/>
    <p:sldLayoutId id="2147484276" r:id="rId4"/>
    <p:sldLayoutId id="2147484279" r:id="rId5"/>
    <p:sldLayoutId id="2147484280" r:id="rId6"/>
    <p:sldLayoutId id="2147484288" r:id="rId7"/>
    <p:sldLayoutId id="2147484289" r:id="rId8"/>
    <p:sldLayoutId id="2147484290" r:id="rId9"/>
    <p:sldLayoutId id="2147484291" r:id="rId10"/>
    <p:sldLayoutId id="2147484240" r:id="rId11"/>
    <p:sldLayoutId id="2147484241" r:id="rId12"/>
    <p:sldLayoutId id="2147484242" r:id="rId13"/>
    <p:sldLayoutId id="2147484243" r:id="rId14"/>
    <p:sldLayoutId id="2147484244" r:id="rId15"/>
    <p:sldLayoutId id="2147484245" r:id="rId16"/>
    <p:sldLayoutId id="2147484246" r:id="rId17"/>
    <p:sldLayoutId id="2147484247" r:id="rId18"/>
    <p:sldLayoutId id="2147484248" r:id="rId19"/>
    <p:sldLayoutId id="2147484249" r:id="rId20"/>
    <p:sldLayoutId id="2147484250" r:id="rId21"/>
    <p:sldLayoutId id="2147484251" r:id="rId22"/>
    <p:sldLayoutId id="2147484252" r:id="rId23"/>
    <p:sldLayoutId id="2147484253" r:id="rId24"/>
    <p:sldLayoutId id="2147484254" r:id="rId25"/>
    <p:sldLayoutId id="2147484255" r:id="rId26"/>
    <p:sldLayoutId id="2147484256" r:id="rId27"/>
    <p:sldLayoutId id="2147484281" r:id="rId28"/>
    <p:sldLayoutId id="2147484282" r:id="rId29"/>
    <p:sldLayoutId id="2147484283" r:id="rId30"/>
    <p:sldLayoutId id="2147484284" r:id="rId31"/>
    <p:sldLayoutId id="2147484285" r:id="rId32"/>
    <p:sldLayoutId id="2147484286" r:id="rId33"/>
    <p:sldLayoutId id="2147484287" r:id="rId34"/>
  </p:sldLayoutIdLst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https://quintiles.sharepoint.com/sites/AnalyticsandInsights" TargetMode="Externa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app.smartsheet.com/b/form/aafcab4fbe5b46c5b5b7d4101cce2506?elqTrackId=87830d6fdf07406395abe5b12aa3f751&amp;elqaid=1251&amp;elqat=2&amp;elqak=8AF5895905681225C1A4AF3E6C379BBF7786450B86CC6A36FF36E3F37555A59588E9" TargetMode="External"/><Relationship Id="rId2" Type="http://schemas.openxmlformats.org/officeDocument/2006/relationships/hyperlink" Target="mailto:marketing.automation@iqvia.com?subject=I%20have%20a%20question%20for%20the%20MA%20Open%20Office%20Hours" TargetMode="Externa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secure.constellation.iqvia.com/MarketingAutomationToolbox?anchor=resources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secure.constellation.iqvia.com/help?elqTrackId=ec86fe01c0874362a5f8cb444931d5bf&amp;elqak=8AF592C71BD342E2C117B6994D8D8CB4A6E2133A48BA31AD53C2A51F8E7816AA2E11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Relationship Id="rId4" Type="http://schemas.openxmlformats.org/officeDocument/2006/relationships/hyperlink" Target="https://app.smartsheet.com/b/form/5cf000694d824be7b725ab86b974debe?elqTrackId=2b28409c3215471bb49811160a7325bd&amp;elqaid=1251&amp;elqat=2&amp;elqak=8AF5C067C373ABE179E465B4797B81C6E8506983C1E31B5404D2010440ABBD4E96BF" TargetMode="Externa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014ADC4-BD15-2F2B-741A-EDFCCB5EC00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lIns="91440" tIns="45720" rIns="91440" bIns="45720" anchor="b" anchorCtr="0"/>
          <a:lstStyle/>
          <a:p>
            <a:r>
              <a:rPr lang="en-US"/>
              <a:t>Welcome to Marketing Operations Open Office Hours – July Session</a:t>
            </a:r>
          </a:p>
        </p:txBody>
      </p:sp>
    </p:spTree>
    <p:extLst>
      <p:ext uri="{BB962C8B-B14F-4D97-AF65-F5344CB8AC3E}">
        <p14:creationId xmlns:p14="http://schemas.microsoft.com/office/powerpoint/2010/main" val="11260767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4C832FF-351D-4396-F4AE-D2ABA056DF1A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 lIns="91440" tIns="45720" rIns="91440" bIns="45720" anchor="t"/>
          <a:lstStyle/>
          <a:p>
            <a:r>
              <a:rPr lang="en-US">
                <a:cs typeface="Arial"/>
              </a:rPr>
              <a:t>Updates</a:t>
            </a:r>
          </a:p>
          <a:p>
            <a:pPr lvl="1">
              <a:buFont typeface="Courier New" panose="020B0604020202020204" pitchFamily="34" charset="0"/>
              <a:buChar char="o"/>
            </a:pPr>
            <a:r>
              <a:rPr lang="en-US">
                <a:solidFill>
                  <a:srgbClr val="000000"/>
                </a:solidFill>
                <a:ea typeface="+mn-lt"/>
                <a:cs typeface="+mn-lt"/>
              </a:rPr>
              <a:t>MQL Performance Page: Introduced the Account field in the "Select Field" slicer</a:t>
            </a:r>
            <a:endParaRPr lang="en-US">
              <a:ea typeface="+mn-lt"/>
              <a:cs typeface="+mn-lt"/>
            </a:endParaRPr>
          </a:p>
          <a:p>
            <a:pPr lvl="1">
              <a:buFont typeface="Courier New" panose="020B0604020202020204" pitchFamily="34" charset="0"/>
              <a:buChar char="o"/>
            </a:pPr>
            <a:r>
              <a:rPr lang="en-US">
                <a:solidFill>
                  <a:srgbClr val="000000"/>
                </a:solidFill>
                <a:ea typeface="+mn-lt"/>
                <a:cs typeface="+mn-lt"/>
              </a:rPr>
              <a:t>Resources Dashboard: Added new training video links under the Training Links page</a:t>
            </a:r>
            <a:endParaRPr lang="en-US">
              <a:cs typeface="Arial"/>
            </a:endParaRPr>
          </a:p>
          <a:p>
            <a:r>
              <a:rPr lang="en-US">
                <a:cs typeface="Arial"/>
              </a:rPr>
              <a:t>New Modules</a:t>
            </a:r>
          </a:p>
          <a:p>
            <a:pPr lvl="1">
              <a:buFont typeface="Courier New" panose="020B0604020202020204" pitchFamily="34" charset="0"/>
              <a:buChar char="o"/>
            </a:pPr>
            <a:r>
              <a:rPr lang="en-US">
                <a:solidFill>
                  <a:srgbClr val="2B3A42"/>
                </a:solidFill>
                <a:ea typeface="+mn-lt"/>
                <a:cs typeface="+mn-lt"/>
              </a:rPr>
              <a:t>Channel Dashboard: Included a </a:t>
            </a:r>
            <a:r>
              <a:rPr lang="en-US">
                <a:ea typeface="+mn-lt"/>
                <a:cs typeface="+mn-lt"/>
              </a:rPr>
              <a:t>new </a:t>
            </a:r>
            <a:r>
              <a:rPr lang="en-US">
                <a:solidFill>
                  <a:srgbClr val="2B3A42"/>
                </a:solidFill>
                <a:ea typeface="+mn-lt"/>
                <a:cs typeface="+mn-lt"/>
              </a:rPr>
              <a:t>field</a:t>
            </a:r>
            <a:r>
              <a:rPr lang="en-US">
                <a:ea typeface="+mn-lt"/>
                <a:cs typeface="+mn-lt"/>
              </a:rPr>
              <a:t>,</a:t>
            </a:r>
            <a:r>
              <a:rPr lang="en-US">
                <a:solidFill>
                  <a:srgbClr val="2B3A42"/>
                </a:solidFill>
                <a:ea typeface="+mn-lt"/>
                <a:cs typeface="+mn-lt"/>
              </a:rPr>
              <a:t> Ad Type, in the </a:t>
            </a:r>
            <a:r>
              <a:rPr lang="en-US">
                <a:ea typeface="+mn-lt"/>
                <a:cs typeface="+mn-lt"/>
              </a:rPr>
              <a:t>Paid Search</a:t>
            </a:r>
            <a:r>
              <a:rPr lang="en-US">
                <a:solidFill>
                  <a:srgbClr val="2B3A42"/>
                </a:solidFill>
                <a:ea typeface="+mn-lt"/>
                <a:cs typeface="+mn-lt"/>
              </a:rPr>
              <a:t> Performance table</a:t>
            </a:r>
          </a:p>
          <a:p>
            <a:r>
              <a:rPr lang="en-US">
                <a:cs typeface="Arial"/>
              </a:rPr>
              <a:t>New Filters</a:t>
            </a:r>
          </a:p>
          <a:p>
            <a:pPr lvl="1">
              <a:buFont typeface="Courier New" panose="020B0604020202020204" pitchFamily="34" charset="0"/>
              <a:buChar char="o"/>
            </a:pPr>
            <a:r>
              <a:rPr lang="en-US">
                <a:ea typeface="+mn-lt"/>
                <a:cs typeface="+mn-lt"/>
              </a:rPr>
              <a:t>Events and Webinar</a:t>
            </a:r>
            <a:r>
              <a:rPr lang="en-US">
                <a:solidFill>
                  <a:srgbClr val="2B3A42"/>
                </a:solidFill>
                <a:ea typeface="+mn-lt"/>
                <a:cs typeface="+mn-lt"/>
              </a:rPr>
              <a:t> Page: Added a new slicer for Deliverable Category</a:t>
            </a:r>
            <a:endParaRPr lang="en-US">
              <a:solidFill>
                <a:srgbClr val="2B3A42"/>
              </a:solidFill>
              <a:cs typeface="Arial"/>
            </a:endParaRPr>
          </a:p>
          <a:p>
            <a:r>
              <a:rPr lang="en-US">
                <a:cs typeface="Arial"/>
              </a:rPr>
              <a:t>New Functions</a:t>
            </a:r>
          </a:p>
          <a:p>
            <a:pPr lvl="1">
              <a:buFont typeface="Courier New" panose="020B0604020202020204" pitchFamily="34" charset="0"/>
              <a:buChar char="o"/>
            </a:pPr>
            <a:r>
              <a:rPr lang="en-US">
                <a:solidFill>
                  <a:srgbClr val="2B3A42"/>
                </a:solidFill>
                <a:ea typeface="+mn-lt"/>
                <a:cs typeface="+mn-lt"/>
              </a:rPr>
              <a:t>Paid Social Page: Enabled drill-through on "Total Cost" to display Account Name and Total Spend</a:t>
            </a:r>
          </a:p>
          <a:p>
            <a:r>
              <a:rPr lang="en-US">
                <a:cs typeface="Arial"/>
              </a:rPr>
              <a:t>New Metrics</a:t>
            </a:r>
          </a:p>
          <a:p>
            <a:pPr lvl="1">
              <a:buFont typeface="Courier New" panose="020B0604020202020204" pitchFamily="34" charset="0"/>
              <a:buChar char="o"/>
            </a:pPr>
            <a:r>
              <a:rPr lang="en-US">
                <a:ea typeface="+mn-lt"/>
                <a:cs typeface="+mn-lt"/>
              </a:rPr>
              <a:t>Organic Social</a:t>
            </a:r>
            <a:r>
              <a:rPr lang="en-US">
                <a:solidFill>
                  <a:srgbClr val="2B3A42"/>
                </a:solidFill>
                <a:ea typeface="+mn-lt"/>
                <a:cs typeface="+mn-lt"/>
              </a:rPr>
              <a:t> Page: Introduced a new KPI — Total Click Through Rate calculated as</a:t>
            </a:r>
            <a:r>
              <a:rPr lang="en-US">
                <a:solidFill>
                  <a:srgbClr val="2B3A42"/>
                </a:solidFill>
                <a:cs typeface="Arial"/>
              </a:rPr>
              <a:t> (=Total </a:t>
            </a:r>
            <a:r>
              <a:rPr lang="en-US" b="1">
                <a:solidFill>
                  <a:srgbClr val="2B3A42"/>
                </a:solidFill>
                <a:cs typeface="Arial"/>
              </a:rPr>
              <a:t>Click throughs to a URL</a:t>
            </a:r>
            <a:r>
              <a:rPr lang="en-US">
                <a:solidFill>
                  <a:srgbClr val="2B3A42"/>
                </a:solidFill>
                <a:cs typeface="Arial"/>
              </a:rPr>
              <a:t>/Total Impressions). This is different from the Total Click Rate which is calculated as (Total Clicks/Total Impressions).</a:t>
            </a:r>
          </a:p>
          <a:p>
            <a:pPr marL="0" indent="0">
              <a:buNone/>
            </a:pPr>
            <a:r>
              <a:rPr lang="en-US" sz="1800">
                <a:solidFill>
                  <a:srgbClr val="2B3A42"/>
                </a:solidFill>
                <a:latin typeface="Arial"/>
                <a:cs typeface="Arial"/>
                <a:hlinkClick r:id="rId2"/>
              </a:rPr>
              <a:t>Feedback, Analytics, and Insights</a:t>
            </a:r>
            <a:endParaRPr lang="en-US" sz="18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EE49F3D-59E0-F70F-E59F-5515B134BA4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 lIns="91440" tIns="45720" rIns="91440" bIns="45720" anchor="t"/>
          <a:lstStyle/>
          <a:p>
            <a:r>
              <a:rPr lang="en-US">
                <a:cs typeface="Arial"/>
              </a:rPr>
              <a:t>Phase 3 Sprint 1 Release</a:t>
            </a:r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0A58876-9101-0AA9-8641-D06EBFB994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b" anchorCtr="0"/>
          <a:lstStyle/>
          <a:p>
            <a:r>
              <a:rPr lang="en-US">
                <a:cs typeface="Arial"/>
              </a:rPr>
              <a:t>Marketing Performance Hub Dashboards</a:t>
            </a:r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12000741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C50605E-519A-EB8D-5877-F291285F32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7126238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DE0E3498-D44C-4E3F-66E0-52039C3223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18C02D5-B939-BFF8-7657-D0B3D73FC719}"/>
              </a:ext>
            </a:extLst>
          </p:cNvPr>
          <p:cNvSpPr txBox="1"/>
          <p:nvPr/>
        </p:nvSpPr>
        <p:spPr>
          <a:xfrm>
            <a:off x="1962418" y="1551964"/>
            <a:ext cx="9429832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0" indent="-285750" fontAlgn="base">
              <a:buFont typeface="Arial" panose="020B0604020202020204" pitchFamily="34" charset="0"/>
              <a:buChar char="•"/>
            </a:pPr>
            <a:r>
              <a:rPr lang="en-US"/>
              <a:t>Outreach calendar: Avoid audience overlap – Shivasagar Biradar</a:t>
            </a:r>
          </a:p>
          <a:p>
            <a:pPr lvl="0" fontAlgn="base"/>
            <a:endParaRPr lang="en-US"/>
          </a:p>
          <a:p>
            <a:pPr marL="285750" lvl="0" indent="-285750" fontAlgn="base">
              <a:buFont typeface="Arial" panose="020B0604020202020204" pitchFamily="34" charset="0"/>
              <a:buChar char="•"/>
            </a:pPr>
            <a:r>
              <a:rPr lang="en-US"/>
              <a:t>Process update: Contact uploads – Srujana Pavuluri</a:t>
            </a:r>
          </a:p>
          <a:p>
            <a:pPr marL="285750" lvl="0" indent="-285750" fontAlgn="base">
              <a:buFont typeface="Arial" panose="020B0604020202020204" pitchFamily="34" charset="0"/>
              <a:buChar char="•"/>
            </a:pPr>
            <a:endParaRPr lang="en-US"/>
          </a:p>
          <a:p>
            <a:pPr marL="285750" lvl="0" indent="-285750" fontAlgn="base">
              <a:buFont typeface="Arial" panose="020B0604020202020204" pitchFamily="34" charset="0"/>
              <a:buChar char="•"/>
            </a:pPr>
            <a:r>
              <a:rPr lang="en-US"/>
              <a:t>Q&amp;A</a:t>
            </a:r>
          </a:p>
          <a:p>
            <a:endParaRPr lang="en-US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33520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D8C524C-9A53-4D86-B780-099467E7852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4693" y="1733834"/>
            <a:ext cx="5119461" cy="4649211"/>
          </a:xfrm>
        </p:spPr>
        <p:txBody>
          <a:bodyPr/>
          <a:lstStyle/>
          <a:p>
            <a:r>
              <a:rPr lang="en-US"/>
              <a:t>Get your questions answered by the marketing operations team.  Open Office Hours are held monthly with the following agenda:</a:t>
            </a:r>
          </a:p>
          <a:p>
            <a:pPr lvl="1"/>
            <a:r>
              <a:rPr lang="en-US"/>
              <a:t>Learn about a tip or best practice  </a:t>
            </a:r>
          </a:p>
          <a:p>
            <a:pPr lvl="1"/>
            <a:r>
              <a:rPr lang="en-US"/>
              <a:t>Ask a question – Pre-submit your questions </a:t>
            </a:r>
            <a:r>
              <a:rPr lang="en-US" u="sng">
                <a:hlinkClick r:id="rId2"/>
              </a:rPr>
              <a:t>here</a:t>
            </a:r>
            <a:r>
              <a:rPr lang="en-US" u="sng"/>
              <a:t> </a:t>
            </a:r>
            <a:r>
              <a:rPr lang="en-US"/>
              <a:t>or ask during the office hours</a:t>
            </a:r>
            <a:endParaRPr lang="en-US">
              <a:cs typeface="Arial"/>
            </a:endParaRPr>
          </a:p>
          <a:p>
            <a:pPr lvl="1"/>
            <a:r>
              <a:rPr lang="en-US"/>
              <a:t>Learn how to leverage IQVIA’s marketing systems and processes most effectively</a:t>
            </a:r>
            <a:endParaRPr lang="en-US">
              <a:cs typeface="Arial"/>
            </a:endParaRPr>
          </a:p>
          <a:p>
            <a:pPr lvl="1"/>
            <a:endParaRPr lang="en-US"/>
          </a:p>
          <a:p>
            <a:r>
              <a:rPr lang="en-US" b="1" u="sng"/>
              <a:t>Action:</a:t>
            </a:r>
            <a:r>
              <a:rPr lang="en-US" b="1"/>
              <a:t> </a:t>
            </a:r>
            <a:r>
              <a:rPr lang="en-US"/>
              <a:t>Sign up </a:t>
            </a:r>
            <a:r>
              <a:rPr lang="en-US">
                <a:hlinkClick r:id="rId3"/>
              </a:rPr>
              <a:t>here</a:t>
            </a:r>
            <a:r>
              <a:rPr lang="en-US"/>
              <a:t>, if you need to be added to the outlook invite</a:t>
            </a:r>
            <a:endParaRPr lang="en-US">
              <a:cs typeface="Arial"/>
            </a:endParaRPr>
          </a:p>
          <a:p>
            <a:endParaRPr lang="en-GB"/>
          </a:p>
          <a:p>
            <a:r>
              <a:rPr lang="en-US" b="1" u="sng">
                <a:cs typeface="Arial"/>
              </a:rPr>
              <a:t>Reminder: </a:t>
            </a:r>
            <a:r>
              <a:rPr lang="en-US">
                <a:cs typeface="Arial"/>
              </a:rPr>
              <a:t>Save your questions for the end or enter in the chat. We will address as many as we can!</a:t>
            </a:r>
          </a:p>
          <a:p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42B8F4A-7A4B-45BF-B1D1-FEB2E02DE8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rketing Operations Open Office Hours 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971DC2E-BABE-4487-B9E1-D802B0DB3DD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29890" y="1733835"/>
            <a:ext cx="4534533" cy="3620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20206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6C5644-711A-25EC-9948-82810157AC7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Outreach Calendar </a:t>
            </a:r>
          </a:p>
        </p:txBody>
      </p:sp>
    </p:spTree>
    <p:extLst>
      <p:ext uri="{BB962C8B-B14F-4D97-AF65-F5344CB8AC3E}">
        <p14:creationId xmlns:p14="http://schemas.microsoft.com/office/powerpoint/2010/main" val="21364393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D69F31-BF85-614E-9D06-00989F090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utreach Calendar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5853AA08-F1D5-EC49-97EC-8A66AE278B3F}"/>
              </a:ext>
            </a:extLst>
          </p:cNvPr>
          <p:cNvSpPr/>
          <p:nvPr/>
        </p:nvSpPr>
        <p:spPr>
          <a:xfrm>
            <a:off x="659250" y="1453112"/>
            <a:ext cx="3295736" cy="4489878"/>
          </a:xfrm>
          <a:prstGeom prst="roundRect">
            <a:avLst>
              <a:gd name="adj" fmla="val 0"/>
            </a:avLst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91440" bIns="45720" rtlCol="0" anchor="ctr" anchorCtr="0"/>
          <a:lstStyle/>
          <a:p>
            <a:r>
              <a:rPr lang="en-US" sz="1600">
                <a:solidFill>
                  <a:schemeClr val="bg2">
                    <a:lumMod val="10000"/>
                  </a:schemeClr>
                </a:solidFill>
              </a:rPr>
              <a:t>The </a:t>
            </a:r>
            <a:r>
              <a:rPr lang="en-US" sz="1600" b="1">
                <a:solidFill>
                  <a:schemeClr val="bg2">
                    <a:lumMod val="10000"/>
                  </a:schemeClr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utreach Calendar</a:t>
            </a:r>
            <a:r>
              <a:rPr lang="en-US" sz="1600" b="1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en-US" sz="1600">
                <a:solidFill>
                  <a:schemeClr val="bg2">
                    <a:lumMod val="10000"/>
                  </a:schemeClr>
                </a:solidFill>
              </a:rPr>
              <a:t>is your go-to tool for </a:t>
            </a:r>
            <a:r>
              <a:rPr lang="en-US" sz="1600" b="1">
                <a:solidFill>
                  <a:schemeClr val="bg2">
                    <a:lumMod val="10000"/>
                  </a:schemeClr>
                </a:solidFill>
              </a:rPr>
              <a:t>planning </a:t>
            </a:r>
            <a:r>
              <a:rPr lang="en-US" sz="1600">
                <a:solidFill>
                  <a:schemeClr val="bg2">
                    <a:lumMod val="10000"/>
                  </a:schemeClr>
                </a:solidFill>
              </a:rPr>
              <a:t>your campaigns, more </a:t>
            </a:r>
            <a:r>
              <a:rPr lang="en-US" sz="1600" b="1">
                <a:solidFill>
                  <a:schemeClr val="bg2">
                    <a:lumMod val="10000"/>
                  </a:schemeClr>
                </a:solidFill>
              </a:rPr>
              <a:t>strategically</a:t>
            </a:r>
            <a:r>
              <a:rPr lang="en-US" sz="1600">
                <a:solidFill>
                  <a:schemeClr val="bg2">
                    <a:lumMod val="10000"/>
                  </a:schemeClr>
                </a:solidFill>
              </a:rPr>
              <a:t>. Located in the </a:t>
            </a:r>
            <a:r>
              <a:rPr lang="en-US" sz="1600" b="1">
                <a:solidFill>
                  <a:schemeClr val="bg2">
                    <a:lumMod val="10000"/>
                  </a:schemeClr>
                </a:solidFill>
              </a:rPr>
              <a:t>Resources</a:t>
            </a:r>
            <a:r>
              <a:rPr lang="en-US" sz="1600">
                <a:solidFill>
                  <a:schemeClr val="bg2">
                    <a:lumMod val="10000"/>
                  </a:schemeClr>
                </a:solidFill>
              </a:rPr>
              <a:t> section of our Toolbox. </a:t>
            </a:r>
            <a:r>
              <a:rPr lang="en-US" sz="1600">
                <a:solidFill>
                  <a:srgbClr val="000000"/>
                </a:solidFill>
                <a:ea typeface="+mn-lt"/>
                <a:cs typeface="+mn-lt"/>
              </a:rPr>
              <a:t>It helps you identify if other </a:t>
            </a:r>
            <a:r>
              <a:rPr lang="en-US" sz="1600" b="1">
                <a:solidFill>
                  <a:srgbClr val="000000"/>
                </a:solidFill>
                <a:ea typeface="+mn-lt"/>
                <a:cs typeface="+mn-lt"/>
              </a:rPr>
              <a:t>stakeholders </a:t>
            </a:r>
            <a:r>
              <a:rPr lang="en-US" sz="1600">
                <a:solidFill>
                  <a:srgbClr val="000000"/>
                </a:solidFill>
                <a:ea typeface="+mn-lt"/>
                <a:cs typeface="+mn-lt"/>
              </a:rPr>
              <a:t>are targeting the same </a:t>
            </a:r>
            <a:r>
              <a:rPr lang="en-US" sz="1600" b="1">
                <a:solidFill>
                  <a:srgbClr val="000000"/>
                </a:solidFill>
                <a:ea typeface="+mn-lt"/>
                <a:cs typeface="+mn-lt"/>
              </a:rPr>
              <a:t>persona</a:t>
            </a:r>
            <a:r>
              <a:rPr lang="en-US" sz="1600">
                <a:solidFill>
                  <a:srgbClr val="000000"/>
                </a:solidFill>
                <a:ea typeface="+mn-lt"/>
                <a:cs typeface="+mn-lt"/>
              </a:rPr>
              <a:t> or </a:t>
            </a:r>
            <a:r>
              <a:rPr lang="en-US" sz="1600" b="1">
                <a:solidFill>
                  <a:srgbClr val="000000"/>
                </a:solidFill>
                <a:ea typeface="+mn-lt"/>
                <a:cs typeface="+mn-lt"/>
              </a:rPr>
              <a:t>bullseye</a:t>
            </a:r>
            <a:r>
              <a:rPr lang="en-US" sz="1600">
                <a:solidFill>
                  <a:srgbClr val="000000"/>
                </a:solidFill>
                <a:ea typeface="+mn-lt"/>
                <a:cs typeface="+mn-lt"/>
              </a:rPr>
              <a:t> on your planned send date. By adjusting your schedule to avoid </a:t>
            </a:r>
            <a:r>
              <a:rPr lang="en-US" sz="1600" b="1">
                <a:solidFill>
                  <a:srgbClr val="000000"/>
                </a:solidFill>
                <a:ea typeface="+mn-lt"/>
                <a:cs typeface="+mn-lt"/>
              </a:rPr>
              <a:t>overlap</a:t>
            </a:r>
            <a:r>
              <a:rPr lang="en-US" sz="1600">
                <a:solidFill>
                  <a:srgbClr val="000000"/>
                </a:solidFill>
                <a:ea typeface="+mn-lt"/>
                <a:cs typeface="+mn-lt"/>
              </a:rPr>
              <a:t>, you can increase visibility and </a:t>
            </a:r>
            <a:r>
              <a:rPr lang="en-US" sz="1600" b="1">
                <a:solidFill>
                  <a:srgbClr val="000000"/>
                </a:solidFill>
                <a:ea typeface="+mn-lt"/>
                <a:cs typeface="+mn-lt"/>
              </a:rPr>
              <a:t>drive higher engagement</a:t>
            </a:r>
            <a:r>
              <a:rPr lang="en-US" sz="1600">
                <a:solidFill>
                  <a:srgbClr val="000000"/>
                </a:solidFill>
                <a:ea typeface="+mn-lt"/>
                <a:cs typeface="+mn-lt"/>
              </a:rPr>
              <a:t> - ultimately improving your campaign metrics</a:t>
            </a:r>
            <a:r>
              <a:rPr lang="en-US" sz="1600">
                <a:solidFill>
                  <a:schemeClr val="bg2">
                    <a:lumMod val="10000"/>
                  </a:schemeClr>
                </a:solidFill>
                <a:ea typeface="+mn-lt"/>
                <a:cs typeface="+mn-lt"/>
              </a:rPr>
              <a:t>.</a:t>
            </a:r>
            <a:endParaRPr lang="en-US">
              <a:solidFill>
                <a:schemeClr val="bg2">
                  <a:lumMod val="10000"/>
                </a:schemeClr>
              </a:solidFill>
              <a:cs typeface="Arial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F4270DD-3D80-8448-B6B2-192F2A8E6898}"/>
              </a:ext>
            </a:extLst>
          </p:cNvPr>
          <p:cNvGrpSpPr/>
          <p:nvPr/>
        </p:nvGrpSpPr>
        <p:grpSpPr>
          <a:xfrm>
            <a:off x="3940632" y="1465951"/>
            <a:ext cx="1408608" cy="4464200"/>
            <a:chOff x="3959463" y="1519851"/>
            <a:chExt cx="1408608" cy="4464200"/>
          </a:xfrm>
        </p:grpSpPr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2DB7DD9F-931C-D44E-848F-7B35943478B7}"/>
                </a:ext>
              </a:extLst>
            </p:cNvPr>
            <p:cNvSpPr/>
            <p:nvPr/>
          </p:nvSpPr>
          <p:spPr>
            <a:xfrm rot="10800000">
              <a:off x="3959463" y="1519851"/>
              <a:ext cx="659174" cy="4464200"/>
            </a:xfrm>
            <a:custGeom>
              <a:avLst/>
              <a:gdLst>
                <a:gd name="connsiteX0" fmla="*/ 0 w 1541806"/>
                <a:gd name="connsiteY0" fmla="*/ 770903 h 4645573"/>
                <a:gd name="connsiteX1" fmla="*/ 770903 w 1541806"/>
                <a:gd name="connsiteY1" fmla="*/ 0 h 4645573"/>
                <a:gd name="connsiteX2" fmla="*/ 770903 w 1541806"/>
                <a:gd name="connsiteY2" fmla="*/ 0 h 4645573"/>
                <a:gd name="connsiteX3" fmla="*/ 1541806 w 1541806"/>
                <a:gd name="connsiteY3" fmla="*/ 770903 h 4645573"/>
                <a:gd name="connsiteX4" fmla="*/ 1541806 w 1541806"/>
                <a:gd name="connsiteY4" fmla="*/ 3874670 h 4645573"/>
                <a:gd name="connsiteX5" fmla="*/ 770903 w 1541806"/>
                <a:gd name="connsiteY5" fmla="*/ 4645573 h 4645573"/>
                <a:gd name="connsiteX6" fmla="*/ 770903 w 1541806"/>
                <a:gd name="connsiteY6" fmla="*/ 4645573 h 4645573"/>
                <a:gd name="connsiteX7" fmla="*/ 0 w 1541806"/>
                <a:gd name="connsiteY7" fmla="*/ 3874670 h 4645573"/>
                <a:gd name="connsiteX8" fmla="*/ 0 w 1541806"/>
                <a:gd name="connsiteY8" fmla="*/ 770903 h 4645573"/>
                <a:gd name="connsiteX0" fmla="*/ 1541806 w 1633246"/>
                <a:gd name="connsiteY0" fmla="*/ 770903 h 4645573"/>
                <a:gd name="connsiteX1" fmla="*/ 1541806 w 1633246"/>
                <a:gd name="connsiteY1" fmla="*/ 3874670 h 4645573"/>
                <a:gd name="connsiteX2" fmla="*/ 770903 w 1633246"/>
                <a:gd name="connsiteY2" fmla="*/ 4645573 h 4645573"/>
                <a:gd name="connsiteX3" fmla="*/ 770903 w 1633246"/>
                <a:gd name="connsiteY3" fmla="*/ 4645573 h 4645573"/>
                <a:gd name="connsiteX4" fmla="*/ 0 w 1633246"/>
                <a:gd name="connsiteY4" fmla="*/ 3874670 h 4645573"/>
                <a:gd name="connsiteX5" fmla="*/ 0 w 1633246"/>
                <a:gd name="connsiteY5" fmla="*/ 770903 h 4645573"/>
                <a:gd name="connsiteX6" fmla="*/ 770903 w 1633246"/>
                <a:gd name="connsiteY6" fmla="*/ 0 h 4645573"/>
                <a:gd name="connsiteX7" fmla="*/ 770903 w 1633246"/>
                <a:gd name="connsiteY7" fmla="*/ 0 h 4645573"/>
                <a:gd name="connsiteX8" fmla="*/ 1633246 w 1633246"/>
                <a:gd name="connsiteY8" fmla="*/ 862343 h 4645573"/>
                <a:gd name="connsiteX0" fmla="*/ 1541806 w 1541806"/>
                <a:gd name="connsiteY0" fmla="*/ 770903 h 4645573"/>
                <a:gd name="connsiteX1" fmla="*/ 1541806 w 1541806"/>
                <a:gd name="connsiteY1" fmla="*/ 3874670 h 4645573"/>
                <a:gd name="connsiteX2" fmla="*/ 770903 w 1541806"/>
                <a:gd name="connsiteY2" fmla="*/ 4645573 h 4645573"/>
                <a:gd name="connsiteX3" fmla="*/ 770903 w 1541806"/>
                <a:gd name="connsiteY3" fmla="*/ 4645573 h 4645573"/>
                <a:gd name="connsiteX4" fmla="*/ 0 w 1541806"/>
                <a:gd name="connsiteY4" fmla="*/ 3874670 h 4645573"/>
                <a:gd name="connsiteX5" fmla="*/ 0 w 1541806"/>
                <a:gd name="connsiteY5" fmla="*/ 770903 h 4645573"/>
                <a:gd name="connsiteX6" fmla="*/ 770903 w 1541806"/>
                <a:gd name="connsiteY6" fmla="*/ 0 h 4645573"/>
                <a:gd name="connsiteX7" fmla="*/ 770903 w 1541806"/>
                <a:gd name="connsiteY7" fmla="*/ 0 h 4645573"/>
                <a:gd name="connsiteX0" fmla="*/ 1541806 w 1541806"/>
                <a:gd name="connsiteY0" fmla="*/ 3874670 h 4645573"/>
                <a:gd name="connsiteX1" fmla="*/ 770903 w 1541806"/>
                <a:gd name="connsiteY1" fmla="*/ 4645573 h 4645573"/>
                <a:gd name="connsiteX2" fmla="*/ 770903 w 1541806"/>
                <a:gd name="connsiteY2" fmla="*/ 4645573 h 4645573"/>
                <a:gd name="connsiteX3" fmla="*/ 0 w 1541806"/>
                <a:gd name="connsiteY3" fmla="*/ 3874670 h 4645573"/>
                <a:gd name="connsiteX4" fmla="*/ 0 w 1541806"/>
                <a:gd name="connsiteY4" fmla="*/ 770903 h 4645573"/>
                <a:gd name="connsiteX5" fmla="*/ 770903 w 1541806"/>
                <a:gd name="connsiteY5" fmla="*/ 0 h 4645573"/>
                <a:gd name="connsiteX6" fmla="*/ 770903 w 1541806"/>
                <a:gd name="connsiteY6" fmla="*/ 0 h 4645573"/>
                <a:gd name="connsiteX0" fmla="*/ 770903 w 770903"/>
                <a:gd name="connsiteY0" fmla="*/ 4645573 h 4645573"/>
                <a:gd name="connsiteX1" fmla="*/ 770903 w 770903"/>
                <a:gd name="connsiteY1" fmla="*/ 4645573 h 4645573"/>
                <a:gd name="connsiteX2" fmla="*/ 0 w 770903"/>
                <a:gd name="connsiteY2" fmla="*/ 3874670 h 4645573"/>
                <a:gd name="connsiteX3" fmla="*/ 0 w 770903"/>
                <a:gd name="connsiteY3" fmla="*/ 770903 h 4645573"/>
                <a:gd name="connsiteX4" fmla="*/ 770903 w 770903"/>
                <a:gd name="connsiteY4" fmla="*/ 0 h 4645573"/>
                <a:gd name="connsiteX5" fmla="*/ 770903 w 770903"/>
                <a:gd name="connsiteY5" fmla="*/ 0 h 4645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0903" h="4645573">
                  <a:moveTo>
                    <a:pt x="770903" y="4645573"/>
                  </a:moveTo>
                  <a:lnTo>
                    <a:pt x="770903" y="4645573"/>
                  </a:lnTo>
                  <a:cubicBezTo>
                    <a:pt x="345145" y="4645573"/>
                    <a:pt x="0" y="4300428"/>
                    <a:pt x="0" y="3874670"/>
                  </a:cubicBezTo>
                  <a:lnTo>
                    <a:pt x="0" y="770903"/>
                  </a:lnTo>
                  <a:cubicBezTo>
                    <a:pt x="0" y="345145"/>
                    <a:pt x="345145" y="0"/>
                    <a:pt x="770903" y="0"/>
                  </a:cubicBezTo>
                  <a:lnTo>
                    <a:pt x="770903" y="0"/>
                  </a:lnTo>
                </a:path>
              </a:pathLst>
            </a:custGeom>
            <a:noFill/>
            <a:ln w="19050" cap="rnd">
              <a:solidFill>
                <a:srgbClr val="CACED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38FEA0C1-76D3-F848-9EA0-590631387E99}"/>
                </a:ext>
              </a:extLst>
            </p:cNvPr>
            <p:cNvCxnSpPr>
              <a:cxnSpLocks/>
            </p:cNvCxnSpPr>
            <p:nvPr/>
          </p:nvCxnSpPr>
          <p:spPr>
            <a:xfrm>
              <a:off x="4623371" y="3751951"/>
              <a:ext cx="744700" cy="0"/>
            </a:xfrm>
            <a:prstGeom prst="straightConnector1">
              <a:avLst/>
            </a:prstGeom>
            <a:ln w="19050" cap="rnd">
              <a:solidFill>
                <a:srgbClr val="CACED1"/>
              </a:solidFill>
              <a:round/>
              <a:tail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D4C5020D-2A49-7EA5-47A0-7F4A28C1555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97785" y="1764193"/>
            <a:ext cx="5932240" cy="3867715"/>
          </a:xfrm>
          <a:prstGeom prst="rect">
            <a:avLst/>
          </a:prstGeom>
          <a:effectLst>
            <a:outerShdw blurRad="337167" dir="2640000" sx="99873" sy="99873" algn="tl" rotWithShape="0">
              <a:prstClr val="black"/>
            </a:outerShdw>
          </a:effectLst>
        </p:spPr>
      </p:pic>
    </p:spTree>
    <p:extLst>
      <p:ext uri="{BB962C8B-B14F-4D97-AF65-F5344CB8AC3E}">
        <p14:creationId xmlns:p14="http://schemas.microsoft.com/office/powerpoint/2010/main" val="12632835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B790AD6-588F-1F81-8F4D-7C6B6B1A8DB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lIns="91440" tIns="45720" rIns="91440" bIns="45720" anchor="t"/>
          <a:lstStyle/>
          <a:p>
            <a:r>
              <a:rPr lang="en-US"/>
              <a:t>Email Outreach</a:t>
            </a:r>
          </a:p>
          <a:p>
            <a:pPr lvl="1"/>
            <a:r>
              <a:rPr lang="en-US"/>
              <a:t>Outreach by overall status</a:t>
            </a:r>
            <a:endParaRPr lang="en-US">
              <a:cs typeface="Arial"/>
            </a:endParaRPr>
          </a:p>
          <a:p>
            <a:pPr lvl="1"/>
            <a:r>
              <a:rPr lang="en-US"/>
              <a:t>Outreach by region</a:t>
            </a:r>
            <a:endParaRPr lang="en-US">
              <a:cs typeface="Arial" panose="020B0604020202020204"/>
            </a:endParaRPr>
          </a:p>
          <a:p>
            <a:pPr lvl="1"/>
            <a:r>
              <a:rPr lang="en-US"/>
              <a:t>Outreach by bullseyes/persona</a:t>
            </a:r>
            <a:endParaRPr lang="en-US">
              <a:cs typeface="Arial" panose="020B0604020202020204"/>
            </a:endParaRPr>
          </a:p>
          <a:p>
            <a:pPr lvl="1"/>
            <a:r>
              <a:rPr lang="en-US"/>
              <a:t>Outreach by stakeholder</a:t>
            </a:r>
            <a:endParaRPr lang="en-US">
              <a:cs typeface="Arial" panose="020B0604020202020204"/>
            </a:endParaRPr>
          </a:p>
          <a:p>
            <a:r>
              <a:rPr lang="en-US">
                <a:cs typeface="Arial" panose="020B0604020202020204"/>
              </a:rPr>
              <a:t>Paid Request</a:t>
            </a:r>
            <a:endParaRPr lang="en-US"/>
          </a:p>
          <a:p>
            <a:r>
              <a:rPr lang="en-US"/>
              <a:t>Organic Social</a:t>
            </a:r>
            <a:endParaRPr lang="en-US">
              <a:cs typeface="Arial" panose="020B0604020202020204"/>
            </a:endParaRPr>
          </a:p>
          <a:p>
            <a:r>
              <a:rPr lang="en-US"/>
              <a:t>Website Request</a:t>
            </a:r>
            <a:endParaRPr lang="en-US">
              <a:cs typeface="Arial" panose="020B0604020202020204"/>
            </a:endParaRPr>
          </a:p>
          <a:p>
            <a:pPr marL="0" indent="0">
              <a:buNone/>
            </a:pPr>
            <a:r>
              <a:rPr lang="en-US"/>
              <a:t> </a:t>
            </a:r>
            <a:endParaRPr lang="en-US">
              <a:cs typeface="Arial" panose="020B0604020202020204"/>
            </a:endParaRPr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r>
              <a:rPr lang="en-US">
                <a:ea typeface="+mn-lt"/>
                <a:cs typeface="+mn-lt"/>
              </a:rPr>
              <a:t>You can also access the outreach calendar under the</a:t>
            </a:r>
            <a:r>
              <a:rPr lang="en-US"/>
              <a:t> </a:t>
            </a:r>
            <a:r>
              <a:rPr lang="en-US">
                <a:hlinkClick r:id="rId3"/>
              </a:rPr>
              <a:t>Help</a:t>
            </a:r>
            <a:r>
              <a:rPr lang="en-US"/>
              <a:t> </a:t>
            </a:r>
            <a:r>
              <a:rPr lang="en-US">
                <a:ea typeface="+mn-lt"/>
                <a:cs typeface="+mn-lt"/>
              </a:rPr>
              <a:t>section in the Marketing Operations toolbox. If you have any questions or need help with the outreach calendar, reach out to us using the</a:t>
            </a:r>
            <a:r>
              <a:rPr lang="en-US"/>
              <a:t> </a:t>
            </a:r>
            <a:r>
              <a:rPr lang="en-US">
                <a:hlinkClick r:id="rId4"/>
              </a:rPr>
              <a:t>Contact us</a:t>
            </a:r>
            <a:r>
              <a:rPr lang="en-US"/>
              <a:t> form</a:t>
            </a:r>
            <a:endParaRPr lang="en-US">
              <a:cs typeface="Arial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DC145C4-DF08-0D8E-0BB1-6C3BB5F498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 all can you monitor</a:t>
            </a:r>
          </a:p>
        </p:txBody>
      </p:sp>
    </p:spTree>
    <p:extLst>
      <p:ext uri="{BB962C8B-B14F-4D97-AF65-F5344CB8AC3E}">
        <p14:creationId xmlns:p14="http://schemas.microsoft.com/office/powerpoint/2010/main" val="6072301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AC8B48-0530-52C5-58C0-B50CA0C763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34331B-B02A-A683-8E4A-715AADE9165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Process update: Contact uploads</a:t>
            </a:r>
          </a:p>
        </p:txBody>
      </p:sp>
    </p:spTree>
    <p:extLst>
      <p:ext uri="{BB962C8B-B14F-4D97-AF65-F5344CB8AC3E}">
        <p14:creationId xmlns:p14="http://schemas.microsoft.com/office/powerpoint/2010/main" val="548302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8DFD1FA-E08F-504C-6EAA-CD50F92679A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384694" y="1714171"/>
            <a:ext cx="7033027" cy="4566312"/>
          </a:xfrm>
        </p:spPr>
        <p:txBody>
          <a:bodyPr lIns="91440" tIns="45720" rIns="91440" bIns="45720" anchor="t">
            <a:normAutofit/>
          </a:bodyPr>
          <a:lstStyle/>
          <a:p>
            <a:pPr marL="0" indent="0">
              <a:buNone/>
            </a:pPr>
            <a:r>
              <a:rPr lang="en-US" b="1">
                <a:cs typeface="Arial"/>
              </a:rPr>
              <a:t>Current Process:</a:t>
            </a:r>
            <a:endParaRPr lang="en-US" b="1"/>
          </a:p>
          <a:p>
            <a:pPr marL="285750" indent="-285750"/>
            <a:r>
              <a:rPr lang="en-US">
                <a:ea typeface="+mn-lt"/>
                <a:cs typeface="+mn-lt"/>
              </a:rPr>
              <a:t>Contact upload requests are handled by both the Activation team and the Feedback, Analytics &amp; Insights team, leading to process inefficiencies and confusion.</a:t>
            </a:r>
          </a:p>
          <a:p>
            <a:pPr marL="285750" indent="-285750"/>
            <a:r>
              <a:rPr lang="en-US">
                <a:ea typeface="+mn-lt"/>
                <a:cs typeface="+mn-lt"/>
              </a:rPr>
              <a:t>Stakeholders frequently submit new contacts as well for segmentation, making it difficult to trace entries and assign accurate lead source details.</a:t>
            </a:r>
            <a:endParaRPr lang="en-US"/>
          </a:p>
          <a:p>
            <a:pPr marL="285750" indent="-285750"/>
            <a:endParaRPr lang="en-US">
              <a:cs typeface="Arial"/>
            </a:endParaRPr>
          </a:p>
          <a:p>
            <a:pPr marL="0" indent="0">
              <a:buNone/>
            </a:pPr>
            <a:r>
              <a:rPr lang="en-US" b="1">
                <a:cs typeface="Arial"/>
              </a:rPr>
              <a:t>New Process: </a:t>
            </a:r>
            <a:endParaRPr lang="en-US" b="1"/>
          </a:p>
          <a:p>
            <a:pPr marL="285750" indent="-285750"/>
            <a:r>
              <a:rPr lang="en-US">
                <a:ea typeface="+mn-lt"/>
                <a:cs typeface="+mn-lt"/>
              </a:rPr>
              <a:t>A </a:t>
            </a:r>
            <a:r>
              <a:rPr lang="en-US" b="1">
                <a:ea typeface="+mn-lt"/>
                <a:cs typeface="+mn-lt"/>
              </a:rPr>
              <a:t>centralized intake form</a:t>
            </a:r>
            <a:r>
              <a:rPr lang="en-US">
                <a:ea typeface="+mn-lt"/>
                <a:cs typeface="+mn-lt"/>
              </a:rPr>
              <a:t> will streamline submissions for both Contact Uploads and External Activity Uploads.</a:t>
            </a:r>
          </a:p>
          <a:p>
            <a:pPr marL="285750" indent="-285750"/>
            <a:r>
              <a:rPr lang="en-US">
                <a:ea typeface="+mn-lt"/>
                <a:cs typeface="+mn-lt"/>
              </a:rPr>
              <a:t>The </a:t>
            </a:r>
            <a:r>
              <a:rPr lang="en-US" b="1">
                <a:ea typeface="+mn-lt"/>
                <a:cs typeface="+mn-lt"/>
              </a:rPr>
              <a:t>Feedback, Analytics &amp; Insights </a:t>
            </a:r>
            <a:r>
              <a:rPr lang="en-US">
                <a:ea typeface="+mn-lt"/>
                <a:cs typeface="+mn-lt"/>
              </a:rPr>
              <a:t>team will take full ownership of all contact uploads, including those submitted for segmentation. </a:t>
            </a:r>
          </a:p>
          <a:p>
            <a:pPr marL="285750" indent="-285750"/>
            <a:endParaRPr lang="en-US">
              <a:cs typeface="Arial" panose="020B0604020202020204"/>
            </a:endParaRPr>
          </a:p>
          <a:p>
            <a:pPr marL="0" indent="0">
              <a:buNone/>
            </a:pPr>
            <a:endParaRPr lang="en-US">
              <a:cs typeface="Arial" panose="020B0604020202020204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DACBFC9-15EF-9ECB-116A-5A71C39F4F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84694" y="1081826"/>
            <a:ext cx="11338560" cy="402336"/>
          </a:xfrm>
        </p:spPr>
        <p:txBody>
          <a:bodyPr lIns="91440" tIns="45720" rIns="91440" bIns="45720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en-US">
                <a:ea typeface="+mn-lt"/>
                <a:cs typeface="+mn-lt"/>
              </a:rPr>
              <a:t>Transitioning from Current to New Process</a:t>
            </a:r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3844CF1-EA99-ADB1-6BDC-0A2962848F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694" y="294468"/>
            <a:ext cx="11338560" cy="768263"/>
          </a:xfrm>
        </p:spPr>
        <p:txBody>
          <a:bodyPr lIns="91440" tIns="45720" rIns="91440" bIns="45720" anchor="b" anchorCtr="0">
            <a:normAutofit/>
          </a:bodyPr>
          <a:lstStyle/>
          <a:p>
            <a:r>
              <a:rPr lang="en-US"/>
              <a:t>Contact Uploads</a:t>
            </a:r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74344698-CCCD-D052-37F4-94DE27A458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4694" y="6387858"/>
            <a:ext cx="9285484" cy="338087"/>
          </a:xfrm>
        </p:spPr>
        <p:txBody>
          <a:bodyPr/>
          <a:lstStyle/>
          <a:p>
            <a:endParaRPr lang="en-US"/>
          </a:p>
        </p:txBody>
      </p:sp>
      <p:pic>
        <p:nvPicPr>
          <p:cNvPr id="6" name="Picture 5" descr="A blue rectangle with white text&#10;&#10;AI-generated content may be incorrect.">
            <a:extLst>
              <a:ext uri="{FF2B5EF4-FFF2-40B4-BE49-F238E27FC236}">
                <a16:creationId xmlns:a16="http://schemas.microsoft.com/office/drawing/2014/main" id="{4F34A9E2-AEFA-0280-8B4F-7E77C402D8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92077" y="4526106"/>
            <a:ext cx="3781425" cy="1200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92095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D17DF7-62B3-6D1D-464A-F1F3BE7E61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499712A-0D2A-7FA0-52A9-F96824448ABC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396239" y="1048384"/>
            <a:ext cx="6201755" cy="5232099"/>
          </a:xfrm>
        </p:spPr>
        <p:txBody>
          <a:bodyPr lIns="91440" tIns="45720" rIns="91440" bIns="45720" anchor="t">
            <a:normAutofit/>
          </a:bodyPr>
          <a:lstStyle/>
          <a:p>
            <a:pPr marL="285750" indent="-285750"/>
            <a:r>
              <a:rPr lang="en-US">
                <a:ea typeface="+mn-lt"/>
                <a:cs typeface="+mn-lt"/>
              </a:rPr>
              <a:t>The form will include an option to specify the type of request - either a </a:t>
            </a:r>
            <a:r>
              <a:rPr lang="en-US" b="1">
                <a:ea typeface="+mn-lt"/>
                <a:cs typeface="+mn-lt"/>
              </a:rPr>
              <a:t>Contact Upload</a:t>
            </a:r>
            <a:r>
              <a:rPr lang="en-US">
                <a:ea typeface="+mn-lt"/>
                <a:cs typeface="+mn-lt"/>
              </a:rPr>
              <a:t> or an </a:t>
            </a:r>
            <a:r>
              <a:rPr lang="en-US" b="1">
                <a:ea typeface="+mn-lt"/>
                <a:cs typeface="+mn-lt"/>
              </a:rPr>
              <a:t>External Activity Upload</a:t>
            </a:r>
            <a:r>
              <a:rPr lang="en-US">
                <a:ea typeface="+mn-lt"/>
                <a:cs typeface="+mn-lt"/>
              </a:rPr>
              <a:t>.</a:t>
            </a:r>
          </a:p>
          <a:p>
            <a:pPr marL="285750" indent="-285750"/>
            <a:endParaRPr lang="en-US">
              <a:ea typeface="+mn-lt"/>
              <a:cs typeface="+mn-lt"/>
            </a:endParaRPr>
          </a:p>
          <a:p>
            <a:pPr marL="285750" indent="-285750"/>
            <a:endParaRPr lang="en-US">
              <a:ea typeface="+mn-lt"/>
              <a:cs typeface="+mn-lt"/>
            </a:endParaRPr>
          </a:p>
          <a:p>
            <a:pPr marL="285750" indent="-285750"/>
            <a:endParaRPr lang="en-US">
              <a:ea typeface="+mn-lt"/>
              <a:cs typeface="+mn-lt"/>
            </a:endParaRPr>
          </a:p>
          <a:p>
            <a:pPr marL="285750" indent="-285750"/>
            <a:endParaRPr lang="en-US">
              <a:ea typeface="+mn-lt"/>
              <a:cs typeface="+mn-lt"/>
            </a:endParaRPr>
          </a:p>
          <a:p>
            <a:pPr marL="285750" indent="-285750"/>
            <a:endParaRPr lang="en-US">
              <a:ea typeface="+mn-lt"/>
              <a:cs typeface="+mn-lt"/>
            </a:endParaRPr>
          </a:p>
          <a:p>
            <a:pPr marL="285750" indent="-285750"/>
            <a:endParaRPr lang="en-US">
              <a:ea typeface="+mn-lt"/>
              <a:cs typeface="+mn-lt"/>
            </a:endParaRPr>
          </a:p>
          <a:p>
            <a:pPr marL="285750" indent="-285750"/>
            <a:endParaRPr lang="en-US">
              <a:ea typeface="+mn-lt"/>
              <a:cs typeface="+mn-lt"/>
            </a:endParaRPr>
          </a:p>
          <a:p>
            <a:pPr marL="285750" indent="-285750"/>
            <a:endParaRPr lang="en-US">
              <a:ea typeface="+mn-lt"/>
              <a:cs typeface="+mn-lt"/>
            </a:endParaRPr>
          </a:p>
          <a:p>
            <a:pPr marL="285750" indent="-285750"/>
            <a:r>
              <a:rPr lang="en-US">
                <a:ea typeface="+mn-lt"/>
                <a:cs typeface="+mn-lt"/>
              </a:rPr>
              <a:t>Depending on the selected request type, relevant fields will dynamically appear. </a:t>
            </a:r>
            <a:endParaRPr lang="en-US">
              <a:cs typeface="Arial"/>
            </a:endParaRPr>
          </a:p>
          <a:p>
            <a:pPr marL="285750" indent="-285750"/>
            <a:r>
              <a:rPr lang="en-US">
                <a:ea typeface="+mn-lt"/>
                <a:cs typeface="+mn-lt"/>
              </a:rPr>
              <a:t>This form will help standardize the process while capturing key details such as data source, associated costs, and the purpose behind the manual upload.</a:t>
            </a:r>
            <a:endParaRPr lang="en-US">
              <a:cs typeface="Arial" panose="020B0604020202020204"/>
            </a:endParaRPr>
          </a:p>
          <a:p>
            <a:pPr marL="0" indent="0">
              <a:buNone/>
            </a:pPr>
            <a:endParaRPr lang="en-US">
              <a:cs typeface="Arial" panose="020B0604020202020204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9130473-F245-C983-A1D8-7CFED4DC2D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694" y="294468"/>
            <a:ext cx="11338560" cy="514263"/>
          </a:xfrm>
        </p:spPr>
        <p:txBody>
          <a:bodyPr lIns="91440" tIns="45720" rIns="91440" bIns="45720" anchor="b" anchorCtr="0">
            <a:normAutofit/>
          </a:bodyPr>
          <a:lstStyle/>
          <a:p>
            <a:r>
              <a:rPr lang="en-US"/>
              <a:t>Contacts/External Activities Upload</a:t>
            </a:r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7E714A7F-B3EA-4BE3-3299-857A336CBD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4694" y="6387858"/>
            <a:ext cx="9285484" cy="338087"/>
          </a:xfrm>
        </p:spPr>
        <p:txBody>
          <a:bodyPr/>
          <a:lstStyle/>
          <a:p>
            <a:endParaRPr lang="en-US"/>
          </a:p>
        </p:txBody>
      </p:sp>
      <p:pic>
        <p:nvPicPr>
          <p:cNvPr id="8" name="Content Placeholder 4" descr="A screenshot of a survey&#10;&#10;AI-generated content may be incorrect.">
            <a:extLst>
              <a:ext uri="{FF2B5EF4-FFF2-40B4-BE49-F238E27FC236}">
                <a16:creationId xmlns:a16="http://schemas.microsoft.com/office/drawing/2014/main" id="{FE0C5FD1-A53E-EEE4-95A2-848D4B9B57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25495" y="291526"/>
            <a:ext cx="4045206" cy="6444041"/>
          </a:xfrm>
          <a:prstGeom prst="rect">
            <a:avLst/>
          </a:prstGeom>
        </p:spPr>
      </p:pic>
      <p:pic>
        <p:nvPicPr>
          <p:cNvPr id="14" name="Picture 13" descr="A screenshot of a computer&#10;&#10;AI-generated content may be incorrect.">
            <a:extLst>
              <a:ext uri="{FF2B5EF4-FFF2-40B4-BE49-F238E27FC236}">
                <a16:creationId xmlns:a16="http://schemas.microsoft.com/office/drawing/2014/main" id="{56F316C5-6AF8-3110-7A6A-FE31AC875E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1145" y="1898073"/>
            <a:ext cx="5638800" cy="243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18257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QVIA_V3.0.0">
  <a:themeElements>
    <a:clrScheme name="IQVIA Master Brand">
      <a:dk1>
        <a:srgbClr val="2B3A42"/>
      </a:dk1>
      <a:lt1>
        <a:srgbClr val="FFFFFF"/>
      </a:lt1>
      <a:dk2>
        <a:srgbClr val="606B71"/>
      </a:dk2>
      <a:lt2>
        <a:srgbClr val="F3F3F3"/>
      </a:lt2>
      <a:accent1>
        <a:srgbClr val="00A3E0"/>
      </a:accent1>
      <a:accent2>
        <a:srgbClr val="005587"/>
      </a:accent2>
      <a:accent3>
        <a:srgbClr val="43B02A"/>
      </a:accent3>
      <a:accent4>
        <a:srgbClr val="027123"/>
      </a:accent4>
      <a:accent5>
        <a:srgbClr val="00BFB3"/>
      </a:accent5>
      <a:accent6>
        <a:srgbClr val="F0B323"/>
      </a:accent6>
      <a:hlink>
        <a:srgbClr val="00A3E0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t" anchorCtr="0"/>
      <a:lstStyle>
        <a:defPPr algn="l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IQVIA Corporate PowerPoint Template" id="{FBF47825-BA15-42F8-B8DD-474EE679720A}" vid="{51500039-90C3-4EE0-82E8-5B46344F180D}"/>
    </a:ext>
  </a:extLst>
</a:theme>
</file>

<file path=ppt/theme/theme2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741A8027A94C54E8B871968FAA6C492" ma:contentTypeVersion="20" ma:contentTypeDescription="Create a new document." ma:contentTypeScope="" ma:versionID="ad28878c911ec4aa9c8f8cac17fa5600">
  <xsd:schema xmlns:xsd="http://www.w3.org/2001/XMLSchema" xmlns:xs="http://www.w3.org/2001/XMLSchema" xmlns:p="http://schemas.microsoft.com/office/2006/metadata/properties" xmlns:ns2="a3d99252-4236-4875-9705-b79300e2d557" xmlns:ns3="1c9b69b2-596d-4757-b9cd-cd8972304baa" targetNamespace="http://schemas.microsoft.com/office/2006/metadata/properties" ma:root="true" ma:fieldsID="c8d0122162291121ea0cc7ece83b8807" ns2:_="" ns3:_="">
    <xsd:import namespace="a3d99252-4236-4875-9705-b79300e2d557"/>
    <xsd:import namespace="1c9b69b2-596d-4757-b9cd-cd8972304ba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DocTags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  <xsd:element ref="ns2:About" minOccurs="0"/>
                <xsd:element ref="ns2:Owne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d99252-4236-4875-9705-b79300e2d55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b68784c8-5187-4d12-af89-ac967a8112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MediaServiceDocTags" ma:index="20" nillable="true" ma:displayName="MediaServiceDocTags" ma:hidden="true" ma:internalName="MediaServiceDocTags" ma:readOnly="true">
      <xsd:simpleType>
        <xsd:restriction base="dms:Note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About" ma:index="24" nillable="true" ma:displayName="About" ma:format="Dropdown" ma:internalName="About">
      <xsd:simpleType>
        <xsd:restriction base="dms:Text">
          <xsd:maxLength value="255"/>
        </xsd:restriction>
      </xsd:simpleType>
    </xsd:element>
    <xsd:element name="Owner" ma:index="25" nillable="true" ma:displayName="Owner" ma:format="Dropdown" ma:internalName="Owner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c9b69b2-596d-4757-b9cd-cd8972304ba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d67e752f-aa54-418c-a827-14a947def056}" ma:internalName="TaxCatchAll" ma:showField="CatchAllData" ma:web="1c9b69b2-596d-4757-b9cd-cd8972304ba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Owner xmlns="a3d99252-4236-4875-9705-b79300e2d557" xsi:nil="true"/>
    <About xmlns="a3d99252-4236-4875-9705-b79300e2d557" xsi:nil="true"/>
    <lcf76f155ced4ddcb4097134ff3c332f xmlns="a3d99252-4236-4875-9705-b79300e2d557">
      <Terms xmlns="http://schemas.microsoft.com/office/infopath/2007/PartnerControls"/>
    </lcf76f155ced4ddcb4097134ff3c332f>
    <TaxCatchAll xmlns="1c9b69b2-596d-4757-b9cd-cd8972304baa" xsi:nil="true"/>
  </documentManagement>
</p:properties>
</file>

<file path=customXml/itemProps1.xml><?xml version="1.0" encoding="utf-8"?>
<ds:datastoreItem xmlns:ds="http://schemas.openxmlformats.org/officeDocument/2006/customXml" ds:itemID="{49D1A754-0255-415F-9E97-0F0BE3DD987B}">
  <ds:schemaRefs>
    <ds:schemaRef ds:uri="1c9b69b2-596d-4757-b9cd-cd8972304baa"/>
    <ds:schemaRef ds:uri="a3d99252-4236-4875-9705-b79300e2d55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4423C0CA-5009-47CB-A797-72E4DEC02D6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2B204CA-FCBB-484A-9BB6-0F3E53A854A7}">
  <ds:schemaRefs>
    <ds:schemaRef ds:uri="1c9b69b2-596d-4757-b9cd-cd8972304baa"/>
    <ds:schemaRef ds:uri="a3d99252-4236-4875-9705-b79300e2d557"/>
    <ds:schemaRef ds:uri="http://schemas.microsoft.com/office/2006/metadata/properties"/>
    <ds:schemaRef ds:uri="http://schemas.microsoft.com/office/infopath/2007/PartnerControls"/>
  </ds:schemaRefs>
</ds:datastoreItem>
</file>

<file path=docMetadata/LabelInfo.xml><?xml version="1.0" encoding="utf-8"?>
<clbl:labelList xmlns:clbl="http://schemas.microsoft.com/office/2020/mipLabelMetadata">
  <clbl:label id="{5989ece0-f90e-40bf-9c79-1a7beccdb861}" enabled="0" method="" siteId="{5989ece0-f90e-40bf-9c79-1a7beccdb861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Application>Microsoft Office PowerPoint</Application>
  <PresentationFormat>Widescreen</PresentationFormat>
  <Slides>11</Slides>
  <Notes>4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2" baseType="lpstr">
      <vt:lpstr>IQVIA_V3.0.0</vt:lpstr>
      <vt:lpstr>Welcome to Marketing Operations Open Office Hours – July Session</vt:lpstr>
      <vt:lpstr>Agenda</vt:lpstr>
      <vt:lpstr>Marketing Operations Open Office Hours </vt:lpstr>
      <vt:lpstr>Outreach Calendar </vt:lpstr>
      <vt:lpstr>Outreach Calendar</vt:lpstr>
      <vt:lpstr>What all can you monitor</vt:lpstr>
      <vt:lpstr>Process update: Contact uploads</vt:lpstr>
      <vt:lpstr>Contact Uploads</vt:lpstr>
      <vt:lpstr>Contacts/External Activities Upload</vt:lpstr>
      <vt:lpstr>Marketing Performance Hub Dashboards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nefits of LinkedIn message ads and click-to-message ads</dc:title>
  <dc:creator>Kamboj, Sandeep</dc:creator>
  <cp:revision>1</cp:revision>
  <cp:lastPrinted>2019-08-20T20:33:24Z</cp:lastPrinted>
  <dcterms:created xsi:type="dcterms:W3CDTF">2025-04-01T04:30:23Z</dcterms:created>
  <dcterms:modified xsi:type="dcterms:W3CDTF">2025-07-02T11:35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741A8027A94C54E8B871968FAA6C492</vt:lpwstr>
  </property>
  <property fmtid="{D5CDD505-2E9C-101B-9397-08002B2CF9AE}" pid="3" name="MediaServiceImageTags">
    <vt:lpwstr/>
  </property>
</Properties>
</file>